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899" r:id="rId4"/>
  </p:sldMasterIdLst>
  <p:notesMasterIdLst>
    <p:notesMasterId r:id="rId46"/>
  </p:notesMasterIdLst>
  <p:handoutMasterIdLst>
    <p:handoutMasterId r:id="rId47"/>
  </p:handoutMasterIdLst>
  <p:sldIdLst>
    <p:sldId id="270" r:id="rId5"/>
    <p:sldId id="272" r:id="rId6"/>
    <p:sldId id="273" r:id="rId7"/>
    <p:sldId id="256" r:id="rId8"/>
    <p:sldId id="257" r:id="rId9"/>
    <p:sldId id="258" r:id="rId10"/>
    <p:sldId id="259" r:id="rId11"/>
    <p:sldId id="260" r:id="rId12"/>
    <p:sldId id="261" r:id="rId13"/>
    <p:sldId id="262" r:id="rId14"/>
    <p:sldId id="263" r:id="rId15"/>
    <p:sldId id="264" r:id="rId16"/>
    <p:sldId id="265" r:id="rId17"/>
    <p:sldId id="266" r:id="rId18"/>
    <p:sldId id="267" r:id="rId19"/>
    <p:sldId id="274" r:id="rId20"/>
    <p:sldId id="269" r:id="rId21"/>
    <p:sldId id="275" r:id="rId22"/>
    <p:sldId id="271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285" r:id="rId33"/>
    <p:sldId id="286" r:id="rId34"/>
    <p:sldId id="287" r:id="rId35"/>
    <p:sldId id="288" r:id="rId36"/>
    <p:sldId id="289" r:id="rId37"/>
    <p:sldId id="290" r:id="rId38"/>
    <p:sldId id="291" r:id="rId39"/>
    <p:sldId id="292" r:id="rId40"/>
    <p:sldId id="293" r:id="rId41"/>
    <p:sldId id="294" r:id="rId42"/>
    <p:sldId id="295" r:id="rId43"/>
    <p:sldId id="296" r:id="rId44"/>
    <p:sldId id="268" r:id="rId45"/>
  </p:sldIdLst>
  <p:sldSz cx="12192000" cy="6858000"/>
  <p:notesSz cx="6858000" cy="9144000"/>
  <p:embeddedFontLst>
    <p:embeddedFont>
      <p:font typeface="Calibri" panose="020F0502020204030204" pitchFamily="34" charset="0"/>
      <p:regular r:id="rId48"/>
      <p:bold r:id="rId49"/>
      <p:italic r:id="rId50"/>
      <p:boldItalic r:id="rId51"/>
    </p:embeddedFont>
    <p:embeddedFont>
      <p:font typeface="Ubuntu" panose="020B0504030602030204" pitchFamily="34" charset="0"/>
      <p:regular r:id="rId52"/>
      <p:bold r:id="rId53"/>
      <p:italic r:id="rId54"/>
      <p:boldItalic r:id="rId55"/>
    </p:embeddedFont>
  </p:embeddedFontLst>
  <p:custDataLst>
    <p:tags r:id="rId56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2B0A3D"/>
    <a:srgbClr val="A6A6A6"/>
    <a:srgbClr val="FFDA80"/>
    <a:srgbClr val="57CF80"/>
    <a:srgbClr val="12ABDB"/>
    <a:srgbClr val="E30021"/>
    <a:srgbClr val="007D74"/>
    <a:srgbClr val="590A42"/>
    <a:srgbClr val="BA29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821" autoAdjust="0"/>
    <p:restoredTop sz="95789" autoAdjust="0"/>
  </p:normalViewPr>
  <p:slideViewPr>
    <p:cSldViewPr>
      <p:cViewPr varScale="1">
        <p:scale>
          <a:sx n="124" d="100"/>
          <a:sy n="124" d="100"/>
        </p:scale>
        <p:origin x="720" y="168"/>
      </p:cViewPr>
      <p:guideLst>
        <p:guide orient="horz" pos="2341"/>
        <p:guide pos="3840"/>
      </p:guideLst>
    </p:cSldViewPr>
  </p:slideViewPr>
  <p:outlineViewPr>
    <p:cViewPr>
      <p:scale>
        <a:sx n="33" d="100"/>
        <a:sy n="33" d="100"/>
      </p:scale>
      <p:origin x="0" y="-111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112" d="100"/>
          <a:sy n="112" d="100"/>
        </p:scale>
        <p:origin x="2952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handoutMaster" Target="handoutMasters/handoutMaster1.xml"/><Relationship Id="rId50" Type="http://schemas.openxmlformats.org/officeDocument/2006/relationships/font" Target="fonts/font3.fntdata"/><Relationship Id="rId55" Type="http://schemas.openxmlformats.org/officeDocument/2006/relationships/font" Target="fonts/font8.fntdata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font" Target="fonts/font6.fntdata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font" Target="fonts/font1.fntdata"/><Relationship Id="rId56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font" Target="fonts/font4.fntdata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notesMaster" Target="notesMasters/notesMaster1.xml"/><Relationship Id="rId59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font" Target="fonts/font7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font" Target="fonts/font2.fntdata"/><Relationship Id="rId57" Type="http://schemas.openxmlformats.org/officeDocument/2006/relationships/presProps" Target="presProp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font" Target="fonts/font5.fntdata"/><Relationship Id="rId6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6/10/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6/10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b - Full Pictu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FIRST LEGO League | FIRST">
            <a:extLst>
              <a:ext uri="{FF2B5EF4-FFF2-40B4-BE49-F238E27FC236}">
                <a16:creationId xmlns:a16="http://schemas.microsoft.com/office/drawing/2014/main" id="{D2C62EFA-B706-AB4D-9957-EC33BBA2CA0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53943"/>
          </a:xfrm>
          <a:prstGeom prst="rect">
            <a:avLst/>
          </a:prstGeo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800960"/>
            <a:ext cx="11386134" cy="1708160"/>
          </a:xfrm>
          <a:prstGeom prst="rect">
            <a:avLst/>
          </a:prstGeo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6000" b="1" baseline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01161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-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1524000"/>
            <a:ext cx="5600701" cy="49387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2" y="913912"/>
            <a:ext cx="5600701" cy="45768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rgbClr val="12ABDB"/>
                </a:solidFill>
                <a:latin typeface="Ubuntu" panose="020B0504030602030204" pitchFamily="34" charset="0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noProof="0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6013" y="913912"/>
            <a:ext cx="5588001" cy="45768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rgbClr val="12ABDB"/>
                </a:solidFill>
                <a:latin typeface="Ubuntu" panose="020B0504030602030204" pitchFamily="34" charset="0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noProof="0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6013" y="1524000"/>
            <a:ext cx="5594351" cy="493871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A433388-E3BF-3C44-8F03-1812C4D4B4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235789"/>
            <a:ext cx="10947772" cy="457688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00505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-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82DC6BD5-E741-E74D-A6B0-0A9B2B6753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685800"/>
            <a:ext cx="11379200" cy="3810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A774793-A124-414C-A119-D4BE4FE1D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235789"/>
            <a:ext cx="10947772" cy="457688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20316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549C0316-B223-874B-9F18-C0F90D5D3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235789"/>
            <a:ext cx="10947772" cy="457688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75358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043625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4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DB621D7-C742-A34D-B003-CE1E8D9F4C0F}"/>
              </a:ext>
            </a:extLst>
          </p:cNvPr>
          <p:cNvSpPr txBox="1"/>
          <p:nvPr userDrawn="1"/>
        </p:nvSpPr>
        <p:spPr>
          <a:xfrm>
            <a:off x="2696029" y="1646237"/>
            <a:ext cx="73152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0" b="1" dirty="0">
                <a:solidFill>
                  <a:schemeClr val="bg1"/>
                </a:solidFill>
              </a:rPr>
              <a:t>Thank You</a:t>
            </a:r>
          </a:p>
        </p:txBody>
      </p:sp>
      <p:pic>
        <p:nvPicPr>
          <p:cNvPr id="4" name="Picture 3" descr="A picture containing text, toy, colorful&#10;&#10;Description automatically generated">
            <a:extLst>
              <a:ext uri="{FF2B5EF4-FFF2-40B4-BE49-F238E27FC236}">
                <a16:creationId xmlns:a16="http://schemas.microsoft.com/office/drawing/2014/main" id="{C78E092B-38CA-4F44-9C5D-30229AC23E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3000" y="3505200"/>
            <a:ext cx="312420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607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91713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-Title &amp; Cont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0">
            <a:extLst>
              <a:ext uri="{FF2B5EF4-FFF2-40B4-BE49-F238E27FC236}">
                <a16:creationId xmlns:a16="http://schemas.microsoft.com/office/drawing/2014/main" id="{C80AA902-7BFD-3143-80D6-387F71129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235788"/>
            <a:ext cx="10947772" cy="4500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Espace réservé du texte 9">
            <a:extLst>
              <a:ext uri="{FF2B5EF4-FFF2-40B4-BE49-F238E27FC236}">
                <a16:creationId xmlns:a16="http://schemas.microsoft.com/office/drawing/2014/main" id="{C5C9E7BA-3088-734B-9A1A-EE072E0011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143000"/>
            <a:ext cx="11406187" cy="533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6568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-Title subtitle &amp; cont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0">
            <a:extLst>
              <a:ext uri="{FF2B5EF4-FFF2-40B4-BE49-F238E27FC236}">
                <a16:creationId xmlns:a16="http://schemas.microsoft.com/office/drawing/2014/main" id="{8977281E-6BE1-3145-BF41-6273C28B3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235788"/>
            <a:ext cx="10947772" cy="4500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Espace réservé du texte 9">
            <a:extLst>
              <a:ext uri="{FF2B5EF4-FFF2-40B4-BE49-F238E27FC236}">
                <a16:creationId xmlns:a16="http://schemas.microsoft.com/office/drawing/2014/main" id="{8E243E1D-45EF-DF4E-BA82-1513F29AE6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143000"/>
            <a:ext cx="11406187" cy="533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AAD9E46F-D020-074E-AE0F-08BB8E002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685800"/>
            <a:ext cx="11379200" cy="3810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1025756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-Content two column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0">
            <a:extLst>
              <a:ext uri="{FF2B5EF4-FFF2-40B4-BE49-F238E27FC236}">
                <a16:creationId xmlns:a16="http://schemas.microsoft.com/office/drawing/2014/main" id="{97C64885-5965-974B-9A4C-ED47327E8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235788"/>
            <a:ext cx="10947772" cy="4500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Espace réservé du texte 9">
            <a:extLst>
              <a:ext uri="{FF2B5EF4-FFF2-40B4-BE49-F238E27FC236}">
                <a16:creationId xmlns:a16="http://schemas.microsoft.com/office/drawing/2014/main" id="{7027D31C-0730-6E42-B58B-AEABCC26FE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4" y="1524000"/>
            <a:ext cx="56007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D59AAAB-FC66-6C45-8DE0-2B3C2A026D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2" y="913912"/>
            <a:ext cx="5600701" cy="45768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rgbClr val="12ABDB"/>
                </a:solidFill>
                <a:latin typeface="Ubuntu" panose="020B0504030602030204" pitchFamily="34" charset="0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noProof="0" dirty="0"/>
              <a:t>CLICK TO INSERT 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871680F-6365-C641-BBC7-EB8AAA073C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6013" y="913912"/>
            <a:ext cx="5588001" cy="45768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rgbClr val="12ABDB"/>
                </a:solidFill>
                <a:latin typeface="Ubuntu" panose="020B0504030602030204" pitchFamily="34" charset="0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noProof="0" dirty="0"/>
              <a:t>CLICK TO INSERT TITLE</a:t>
            </a:r>
          </a:p>
        </p:txBody>
      </p:sp>
      <p:sp>
        <p:nvSpPr>
          <p:cNvPr id="8" name="Espace réservé du texte 9">
            <a:extLst>
              <a:ext uri="{FF2B5EF4-FFF2-40B4-BE49-F238E27FC236}">
                <a16:creationId xmlns:a16="http://schemas.microsoft.com/office/drawing/2014/main" id="{F5539304-4FA7-884D-B810-C39F709CFA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6013" y="1524000"/>
            <a:ext cx="5600700" cy="495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6456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-Title &amp; sub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0">
            <a:extLst>
              <a:ext uri="{FF2B5EF4-FFF2-40B4-BE49-F238E27FC236}">
                <a16:creationId xmlns:a16="http://schemas.microsoft.com/office/drawing/2014/main" id="{B95D8225-9B48-C64E-9AA8-EF6624222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235788"/>
            <a:ext cx="10947772" cy="4500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04BF924D-1D21-5347-8AC3-765268812F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685800"/>
            <a:ext cx="11379200" cy="3810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2912574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-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0">
            <a:extLst>
              <a:ext uri="{FF2B5EF4-FFF2-40B4-BE49-F238E27FC236}">
                <a16:creationId xmlns:a16="http://schemas.microsoft.com/office/drawing/2014/main" id="{9047B71C-D8DD-B745-B9C1-ADF24DD90D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235788"/>
            <a:ext cx="10947772" cy="4500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037422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-Blank 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314247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-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006B5C2B-B0BF-4136-9EC7-0E7F54D1D2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235788"/>
            <a:ext cx="10947772" cy="450012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9771042-6E3A-6448-B98E-539A9C7802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1143488"/>
            <a:ext cx="11379201" cy="5326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0818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-Title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685800"/>
            <a:ext cx="11379200" cy="3810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235789"/>
            <a:ext cx="10947772" cy="457688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88B76D1-BED1-C440-B500-A108361221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1143488"/>
            <a:ext cx="11379201" cy="5326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435895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9757867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7D254FA0-1CD0-4186-9223-F354145FAE6C}"/>
              </a:ext>
            </a:extLst>
          </p:cNvPr>
          <p:cNvGrpSpPr/>
          <p:nvPr userDrawn="1"/>
        </p:nvGrpSpPr>
        <p:grpSpPr>
          <a:xfrm>
            <a:off x="12295891" y="1659"/>
            <a:ext cx="360000" cy="2069166"/>
            <a:chOff x="12498114" y="115959"/>
            <a:chExt cx="360000" cy="206916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/>
          </p:nvSpPr>
          <p:spPr>
            <a:xfrm>
              <a:off x="12498114" y="115959"/>
              <a:ext cx="360000" cy="4068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 dirty="0">
                  <a:latin typeface="Ubuntu" panose="020B0504030602030204" pitchFamily="34" charset="0"/>
                </a:rPr>
                <a:t>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 dirty="0">
                  <a:latin typeface="Ubuntu" panose="020B0504030602030204" pitchFamily="34" charset="0"/>
                </a:rPr>
                <a:t>112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 dirty="0">
                  <a:latin typeface="Ubuntu" panose="020B0504030602030204" pitchFamily="34" charset="0"/>
                </a:rPr>
                <a:t>173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/>
          </p:nvSpPr>
          <p:spPr>
            <a:xfrm>
              <a:off x="12498114" y="533371"/>
              <a:ext cx="360000" cy="4068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 dirty="0">
                  <a:solidFill>
                    <a:schemeClr val="tx1"/>
                  </a:solidFill>
                  <a:latin typeface="Ubuntu" panose="020B0504030602030204" pitchFamily="34" charset="0"/>
                </a:rPr>
                <a:t>1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 dirty="0">
                  <a:solidFill>
                    <a:schemeClr val="tx1"/>
                  </a:solidFill>
                  <a:latin typeface="Ubuntu" panose="020B0504030602030204" pitchFamily="34" charset="0"/>
                </a:rPr>
                <a:t>17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 dirty="0">
                  <a:solidFill>
                    <a:schemeClr val="tx1"/>
                  </a:solidFill>
                  <a:latin typeface="Ubuntu" panose="020B0504030602030204" pitchFamily="34" charset="0"/>
                </a:rPr>
                <a:t>219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/>
          </p:nvSpPr>
          <p:spPr>
            <a:xfrm>
              <a:off x="12498114" y="950783"/>
              <a:ext cx="360000" cy="4068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 dirty="0">
                  <a:latin typeface="Ubuntu" panose="020B0504030602030204" pitchFamily="34" charset="0"/>
                </a:rPr>
                <a:t>4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 dirty="0">
                  <a:latin typeface="Ubuntu" panose="020B0504030602030204" pitchFamily="34" charset="0"/>
                </a:rPr>
                <a:t>1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 dirty="0">
                  <a:latin typeface="Ubuntu" panose="020B0504030602030204" pitchFamily="34" charset="0"/>
                </a:rPr>
                <a:t>61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/>
          </p:nvSpPr>
          <p:spPr>
            <a:xfrm>
              <a:off x="12498114" y="1364202"/>
              <a:ext cx="360000" cy="4068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 dirty="0">
                  <a:latin typeface="Ubuntu" panose="020B0504030602030204" pitchFamily="34" charset="0"/>
                </a:rPr>
                <a:t>39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 dirty="0">
                  <a:latin typeface="Ubuntu" panose="020B0504030602030204" pitchFamily="34" charset="0"/>
                </a:rPr>
                <a:t>4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 dirty="0">
                  <a:latin typeface="Ubuntu" panose="020B0504030602030204" pitchFamily="34" charset="0"/>
                </a:rPr>
                <a:t>54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B60470E2-9B98-4C49-AC1B-A56CD2EB54B9}"/>
                </a:ext>
              </a:extLst>
            </p:cNvPr>
            <p:cNvSpPr/>
            <p:nvPr/>
          </p:nvSpPr>
          <p:spPr>
            <a:xfrm>
              <a:off x="12498114" y="1778325"/>
              <a:ext cx="360000" cy="406800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 dirty="0">
                  <a:solidFill>
                    <a:schemeClr val="tx1"/>
                  </a:solidFill>
                  <a:latin typeface="Ubuntu" panose="020B0504030602030204" pitchFamily="34" charset="0"/>
                </a:rPr>
                <a:t>23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 dirty="0">
                  <a:solidFill>
                    <a:schemeClr val="tx1"/>
                  </a:solidFill>
                  <a:latin typeface="Ubuntu" panose="020B0504030602030204" pitchFamily="34" charset="0"/>
                </a:rPr>
                <a:t>23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 dirty="0">
                  <a:solidFill>
                    <a:schemeClr val="tx1"/>
                  </a:solidFill>
                  <a:latin typeface="Ubuntu" panose="020B0504030602030204" pitchFamily="34" charset="0"/>
                </a:rPr>
                <a:t>236</a:t>
              </a:r>
            </a:p>
          </p:txBody>
        </p:sp>
      </p:grpSp>
      <p:grpSp>
        <p:nvGrpSpPr>
          <p:cNvPr id="4096" name="Groupe 4095">
            <a:extLst>
              <a:ext uri="{FF2B5EF4-FFF2-40B4-BE49-F238E27FC236}">
                <a16:creationId xmlns:a16="http://schemas.microsoft.com/office/drawing/2014/main" id="{4ADC82C4-641D-4930-B946-DC8978F5F98C}"/>
              </a:ext>
            </a:extLst>
          </p:cNvPr>
          <p:cNvGrpSpPr/>
          <p:nvPr/>
        </p:nvGrpSpPr>
        <p:grpSpPr>
          <a:xfrm>
            <a:off x="12295891" y="4289244"/>
            <a:ext cx="1462993" cy="2058800"/>
            <a:chOff x="12432704" y="1992581"/>
            <a:chExt cx="1462993" cy="2058800"/>
          </a:xfrm>
        </p:grpSpPr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EC826880-5A3C-4E1C-81B2-A1CB9E331DC3}"/>
                </a:ext>
              </a:extLst>
            </p:cNvPr>
            <p:cNvSpPr/>
            <p:nvPr/>
          </p:nvSpPr>
          <p:spPr>
            <a:xfrm>
              <a:off x="12800391" y="3644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FF8E12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142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18</a:t>
              </a: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44796AC3-FBF9-498C-9326-20ACFCF63EE6}"/>
                </a:ext>
              </a:extLst>
            </p:cNvPr>
            <p:cNvSpPr/>
            <p:nvPr/>
          </p:nvSpPr>
          <p:spPr>
            <a:xfrm>
              <a:off x="12800391" y="3231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FF9C29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15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41</a:t>
              </a: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2D1DB5D7-2017-4A8F-80D6-C8641C9CE84C}"/>
                </a:ext>
              </a:extLst>
            </p:cNvPr>
            <p:cNvSpPr/>
            <p:nvPr/>
          </p:nvSpPr>
          <p:spPr>
            <a:xfrm>
              <a:off x="12800391" y="2818581"/>
              <a:ext cx="360000" cy="406800"/>
            </a:xfrm>
            <a:custGeom>
              <a:avLst/>
              <a:gdLst>
                <a:gd name="connsiteX0" fmla="*/ 0 w 1111406"/>
                <a:gd name="connsiteY0" fmla="*/ 0 h 1111407"/>
                <a:gd name="connsiteX1" fmla="*/ 1111407 w 1111406"/>
                <a:gd name="connsiteY1" fmla="*/ 0 h 1111407"/>
                <a:gd name="connsiteX2" fmla="*/ 1111407 w 1111406"/>
                <a:gd name="connsiteY2" fmla="*/ 1111407 h 1111407"/>
                <a:gd name="connsiteX3" fmla="*/ 0 w 1111406"/>
                <a:gd name="connsiteY3" fmla="*/ 1111407 h 111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1111407">
                  <a:moveTo>
                    <a:pt x="0" y="0"/>
                  </a:moveTo>
                  <a:lnTo>
                    <a:pt x="1111407" y="0"/>
                  </a:lnTo>
                  <a:lnTo>
                    <a:pt x="1111407" y="1111407"/>
                  </a:lnTo>
                  <a:lnTo>
                    <a:pt x="0" y="1111407"/>
                  </a:lnTo>
                  <a:close/>
                </a:path>
              </a:pathLst>
            </a:custGeom>
            <a:solidFill>
              <a:srgbClr val="FFB24A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17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74</a:t>
              </a: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92191BDF-6BAB-45F9-9FA1-89C34179FD61}"/>
                </a:ext>
              </a:extLst>
            </p:cNvPr>
            <p:cNvSpPr/>
            <p:nvPr/>
          </p:nvSpPr>
          <p:spPr>
            <a:xfrm>
              <a:off x="12800391" y="2405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FFD068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20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104</a:t>
              </a: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EF971F25-4035-43BA-BC8C-22E9B837A713}"/>
                </a:ext>
              </a:extLst>
            </p:cNvPr>
            <p:cNvSpPr/>
            <p:nvPr/>
          </p:nvSpPr>
          <p:spPr>
            <a:xfrm>
              <a:off x="12800391" y="1992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FFDA80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21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128</a:t>
              </a: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F5691FCB-A410-4C6B-963D-15CCFA8EB678}"/>
                </a:ext>
              </a:extLst>
            </p:cNvPr>
            <p:cNvSpPr/>
            <p:nvPr/>
          </p:nvSpPr>
          <p:spPr>
            <a:xfrm>
              <a:off x="13168875" y="3644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42142E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6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2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46</a:t>
              </a: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D0F79893-1FFE-4F7F-B020-867CE988C67E}"/>
                </a:ext>
              </a:extLst>
            </p:cNvPr>
            <p:cNvSpPr/>
            <p:nvPr/>
          </p:nvSpPr>
          <p:spPr>
            <a:xfrm>
              <a:off x="13168875" y="3231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590A42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89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1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66</a:t>
              </a: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4BC28B06-4332-436B-9E8F-27299D73CB0F}"/>
                </a:ext>
              </a:extLst>
            </p:cNvPr>
            <p:cNvSpPr/>
            <p:nvPr/>
          </p:nvSpPr>
          <p:spPr>
            <a:xfrm>
              <a:off x="13168875" y="2818581"/>
              <a:ext cx="360000" cy="406800"/>
            </a:xfrm>
            <a:custGeom>
              <a:avLst/>
              <a:gdLst>
                <a:gd name="connsiteX0" fmla="*/ 0 w 1111406"/>
                <a:gd name="connsiteY0" fmla="*/ 0 h 1111407"/>
                <a:gd name="connsiteX1" fmla="*/ 1111407 w 1111406"/>
                <a:gd name="connsiteY1" fmla="*/ 0 h 1111407"/>
                <a:gd name="connsiteX2" fmla="*/ 1111407 w 1111406"/>
                <a:gd name="connsiteY2" fmla="*/ 1111407 h 1111407"/>
                <a:gd name="connsiteX3" fmla="*/ 0 w 1111406"/>
                <a:gd name="connsiteY3" fmla="*/ 1111407 h 111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1111407">
                  <a:moveTo>
                    <a:pt x="0" y="0"/>
                  </a:moveTo>
                  <a:lnTo>
                    <a:pt x="1111407" y="0"/>
                  </a:lnTo>
                  <a:lnTo>
                    <a:pt x="1111407" y="1111407"/>
                  </a:lnTo>
                  <a:lnTo>
                    <a:pt x="0" y="1111407"/>
                  </a:lnTo>
                  <a:close/>
                </a:path>
              </a:pathLst>
            </a:custGeom>
            <a:solidFill>
              <a:srgbClr val="750D5C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11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1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92</a:t>
              </a: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90419B70-8C46-4DE8-9DD4-F2A6106ED6F5}"/>
                </a:ext>
              </a:extLst>
            </p:cNvPr>
            <p:cNvSpPr/>
            <p:nvPr/>
          </p:nvSpPr>
          <p:spPr>
            <a:xfrm>
              <a:off x="13168875" y="2405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802B73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12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4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115</a:t>
              </a: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0A0CFFBA-E8FE-434D-9D74-BB9F352B4723}"/>
                </a:ext>
              </a:extLst>
            </p:cNvPr>
            <p:cNvSpPr/>
            <p:nvPr/>
          </p:nvSpPr>
          <p:spPr>
            <a:xfrm>
              <a:off x="13168875" y="1992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9E4780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15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7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128</a:t>
              </a: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D041A42A-2FF1-4516-85CE-87051937629F}"/>
                </a:ext>
              </a:extLst>
            </p:cNvPr>
            <p:cNvSpPr/>
            <p:nvPr/>
          </p:nvSpPr>
          <p:spPr>
            <a:xfrm>
              <a:off x="13535697" y="3644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A6001A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16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26</a:t>
              </a: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02084D3E-01E3-4506-9076-881D83455262}"/>
                </a:ext>
              </a:extLst>
            </p:cNvPr>
            <p:cNvSpPr/>
            <p:nvPr/>
          </p:nvSpPr>
          <p:spPr>
            <a:xfrm>
              <a:off x="13535697" y="3231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E30021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22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0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33</a:t>
              </a: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96939CDC-56D5-42B9-843A-231E1C541E5D}"/>
                </a:ext>
              </a:extLst>
            </p:cNvPr>
            <p:cNvSpPr/>
            <p:nvPr/>
          </p:nvSpPr>
          <p:spPr>
            <a:xfrm>
              <a:off x="13535697" y="2818581"/>
              <a:ext cx="360000" cy="406800"/>
            </a:xfrm>
            <a:custGeom>
              <a:avLst/>
              <a:gdLst>
                <a:gd name="connsiteX0" fmla="*/ 0 w 1111406"/>
                <a:gd name="connsiteY0" fmla="*/ 0 h 1111407"/>
                <a:gd name="connsiteX1" fmla="*/ 1111407 w 1111406"/>
                <a:gd name="connsiteY1" fmla="*/ 0 h 1111407"/>
                <a:gd name="connsiteX2" fmla="*/ 1111407 w 1111406"/>
                <a:gd name="connsiteY2" fmla="*/ 1111407 h 1111407"/>
                <a:gd name="connsiteX3" fmla="*/ 0 w 1111406"/>
                <a:gd name="connsiteY3" fmla="*/ 1111407 h 111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1111407">
                  <a:moveTo>
                    <a:pt x="0" y="0"/>
                  </a:moveTo>
                  <a:lnTo>
                    <a:pt x="1111407" y="0"/>
                  </a:lnTo>
                  <a:lnTo>
                    <a:pt x="1111407" y="1111407"/>
                  </a:lnTo>
                  <a:lnTo>
                    <a:pt x="0" y="1111407"/>
                  </a:lnTo>
                  <a:close/>
                </a:path>
              </a:pathLst>
            </a:custGeom>
            <a:solidFill>
              <a:srgbClr val="FF304D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4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77</a:t>
              </a: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66B49780-B844-4D04-8283-E12AAC6933AF}"/>
                </a:ext>
              </a:extLst>
            </p:cNvPr>
            <p:cNvSpPr/>
            <p:nvPr/>
          </p:nvSpPr>
          <p:spPr>
            <a:xfrm>
              <a:off x="13535697" y="2405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FF455E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69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94</a:t>
              </a: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FF82BEF1-5FD1-4558-9313-1606ABF3D69C}"/>
                </a:ext>
              </a:extLst>
            </p:cNvPr>
            <p:cNvSpPr/>
            <p:nvPr/>
          </p:nvSpPr>
          <p:spPr>
            <a:xfrm>
              <a:off x="13535697" y="1992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FF5770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8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112</a:t>
              </a: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86AAEC8D-AC95-4215-80AB-61B5B47B8691}"/>
                </a:ext>
              </a:extLst>
            </p:cNvPr>
            <p:cNvSpPr/>
            <p:nvPr/>
          </p:nvSpPr>
          <p:spPr>
            <a:xfrm>
              <a:off x="12432704" y="3644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811B6F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129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2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111</a:t>
              </a: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345AA905-3BBB-4015-9537-2162DD20DA02}"/>
                </a:ext>
              </a:extLst>
            </p:cNvPr>
            <p:cNvSpPr/>
            <p:nvPr/>
          </p:nvSpPr>
          <p:spPr>
            <a:xfrm>
              <a:off x="12432704" y="3231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A12980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16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4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128</a:t>
              </a: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8E50898F-084D-45EC-9EDA-C64E62F50B6F}"/>
                </a:ext>
              </a:extLst>
            </p:cNvPr>
            <p:cNvSpPr/>
            <p:nvPr/>
          </p:nvSpPr>
          <p:spPr>
            <a:xfrm>
              <a:off x="12432704" y="2818581"/>
              <a:ext cx="360000" cy="406800"/>
            </a:xfrm>
            <a:custGeom>
              <a:avLst/>
              <a:gdLst>
                <a:gd name="connsiteX0" fmla="*/ 0 w 1111406"/>
                <a:gd name="connsiteY0" fmla="*/ 0 h 1111407"/>
                <a:gd name="connsiteX1" fmla="*/ 1111407 w 1111406"/>
                <a:gd name="connsiteY1" fmla="*/ 0 h 1111407"/>
                <a:gd name="connsiteX2" fmla="*/ 1111407 w 1111406"/>
                <a:gd name="connsiteY2" fmla="*/ 1111407 h 1111407"/>
                <a:gd name="connsiteX3" fmla="*/ 0 w 1111406"/>
                <a:gd name="connsiteY3" fmla="*/ 1111407 h 111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1111407">
                  <a:moveTo>
                    <a:pt x="0" y="0"/>
                  </a:moveTo>
                  <a:lnTo>
                    <a:pt x="1111407" y="0"/>
                  </a:lnTo>
                  <a:lnTo>
                    <a:pt x="1111407" y="1111407"/>
                  </a:lnTo>
                  <a:lnTo>
                    <a:pt x="0" y="1111407"/>
                  </a:lnTo>
                  <a:close/>
                </a:path>
              </a:pathLst>
            </a:custGeom>
            <a:solidFill>
              <a:srgbClr val="BA2980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18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4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latin typeface="Ubuntu" panose="020B0504030602030204" pitchFamily="34" charset="0"/>
                </a:rPr>
                <a:t>128</a:t>
              </a: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850EF37B-321C-4CAE-A8B1-66C0053A83E3}"/>
                </a:ext>
              </a:extLst>
            </p:cNvPr>
            <p:cNvSpPr/>
            <p:nvPr/>
          </p:nvSpPr>
          <p:spPr>
            <a:xfrm>
              <a:off x="12432704" y="2405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D13A8C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209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5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140</a:t>
              </a: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49EEAAAC-C871-41A3-9B9B-6381B2FD4E28}"/>
                </a:ext>
              </a:extLst>
            </p:cNvPr>
            <p:cNvSpPr/>
            <p:nvPr/>
          </p:nvSpPr>
          <p:spPr>
            <a:xfrm>
              <a:off x="12432704" y="1993636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E557AD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229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8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dirty="0">
                  <a:latin typeface="Ubuntu" panose="020B0504030602030204" pitchFamily="34" charset="0"/>
                </a:rPr>
                <a:t>173</a:t>
              </a:r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9D36E5FD-F409-4495-819A-440FA57D9E19}"/>
              </a:ext>
            </a:extLst>
          </p:cNvPr>
          <p:cNvSpPr/>
          <p:nvPr/>
        </p:nvSpPr>
        <p:spPr>
          <a:xfrm>
            <a:off x="12295891" y="6412526"/>
            <a:ext cx="2545089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800" dirty="0">
                <a:latin typeface="Ubuntu" panose="020B0504030602030204" pitchFamily="34" charset="0"/>
              </a:rPr>
              <a:t>Security Classification:</a:t>
            </a:r>
          </a:p>
          <a:p>
            <a:r>
              <a:rPr lang="en-GB" sz="800" dirty="0">
                <a:latin typeface="Ubuntu" panose="020B0504030602030204" pitchFamily="34" charset="0"/>
              </a:rPr>
              <a:t>SEC0: Public</a:t>
            </a:r>
          </a:p>
          <a:p>
            <a:r>
              <a:rPr lang="en-GB" sz="800" dirty="0">
                <a:latin typeface="Ubuntu" panose="020B0504030602030204" pitchFamily="34" charset="0"/>
              </a:rPr>
              <a:t>SEC1: Company Confidential</a:t>
            </a:r>
          </a:p>
          <a:p>
            <a:r>
              <a:rPr lang="en-GB" sz="800" dirty="0">
                <a:latin typeface="Ubuntu" panose="020B0504030602030204" pitchFamily="34" charset="0"/>
              </a:rPr>
              <a:t>SEC2: Company Restricted / Customer restricted</a:t>
            </a:r>
          </a:p>
          <a:p>
            <a:r>
              <a:rPr lang="en-GB" sz="800" dirty="0">
                <a:latin typeface="Ubuntu" panose="020B0504030602030204" pitchFamily="34" charset="0"/>
              </a:rPr>
              <a:t>SEC3: Company Sensitive</a:t>
            </a:r>
          </a:p>
        </p:txBody>
      </p:sp>
      <p:grpSp>
        <p:nvGrpSpPr>
          <p:cNvPr id="4097" name="Groupe 4096">
            <a:extLst>
              <a:ext uri="{FF2B5EF4-FFF2-40B4-BE49-F238E27FC236}">
                <a16:creationId xmlns:a16="http://schemas.microsoft.com/office/drawing/2014/main" id="{14207897-E387-4B97-A694-8751D86BCF12}"/>
              </a:ext>
            </a:extLst>
          </p:cNvPr>
          <p:cNvGrpSpPr/>
          <p:nvPr/>
        </p:nvGrpSpPr>
        <p:grpSpPr>
          <a:xfrm>
            <a:off x="12295891" y="2164677"/>
            <a:ext cx="1465123" cy="2058800"/>
            <a:chOff x="14041053" y="1992581"/>
            <a:chExt cx="1465123" cy="2058800"/>
          </a:xfrm>
        </p:grpSpPr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94847038-3CB7-4111-AB03-FA1A594002AA}"/>
                </a:ext>
              </a:extLst>
            </p:cNvPr>
            <p:cNvSpPr/>
            <p:nvPr/>
          </p:nvSpPr>
          <p:spPr>
            <a:xfrm>
              <a:off x="14777224" y="3644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0F434A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6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74</a:t>
              </a: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B50522B-BA67-4790-8697-3AC343D4ACB8}"/>
                </a:ext>
              </a:extLst>
            </p:cNvPr>
            <p:cNvSpPr/>
            <p:nvPr/>
          </p:nvSpPr>
          <p:spPr>
            <a:xfrm>
              <a:off x="14777224" y="3231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0F6A73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0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15</a:t>
              </a: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B90AA6F9-B8A6-4490-A465-CBEFAEA6DFCA}"/>
                </a:ext>
              </a:extLst>
            </p:cNvPr>
            <p:cNvSpPr/>
            <p:nvPr/>
          </p:nvSpPr>
          <p:spPr>
            <a:xfrm>
              <a:off x="14777224" y="2818581"/>
              <a:ext cx="360865" cy="406800"/>
            </a:xfrm>
            <a:custGeom>
              <a:avLst/>
              <a:gdLst>
                <a:gd name="connsiteX0" fmla="*/ 0 w 1111406"/>
                <a:gd name="connsiteY0" fmla="*/ 0 h 1111407"/>
                <a:gd name="connsiteX1" fmla="*/ 1111407 w 1111406"/>
                <a:gd name="connsiteY1" fmla="*/ 0 h 1111407"/>
                <a:gd name="connsiteX2" fmla="*/ 1111407 w 1111406"/>
                <a:gd name="connsiteY2" fmla="*/ 1111407 h 1111407"/>
                <a:gd name="connsiteX3" fmla="*/ 0 w 1111406"/>
                <a:gd name="connsiteY3" fmla="*/ 1111407 h 111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1111407">
                  <a:moveTo>
                    <a:pt x="0" y="0"/>
                  </a:moveTo>
                  <a:lnTo>
                    <a:pt x="1111407" y="0"/>
                  </a:lnTo>
                  <a:lnTo>
                    <a:pt x="1111407" y="1111407"/>
                  </a:lnTo>
                  <a:lnTo>
                    <a:pt x="0" y="1111407"/>
                  </a:lnTo>
                  <a:close/>
                </a:path>
              </a:pathLst>
            </a:custGeom>
            <a:solidFill>
              <a:srgbClr val="0F878A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3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38</a:t>
              </a: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AEDB31E0-288F-492F-BC3E-94F3C3363294}"/>
                </a:ext>
              </a:extLst>
            </p:cNvPr>
            <p:cNvSpPr/>
            <p:nvPr/>
          </p:nvSpPr>
          <p:spPr>
            <a:xfrm>
              <a:off x="14777224" y="2405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00B2A2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17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162</a:t>
              </a: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8F775A35-2F34-403A-95F8-4058F1A09A02}"/>
                </a:ext>
              </a:extLst>
            </p:cNvPr>
            <p:cNvSpPr/>
            <p:nvPr/>
          </p:nvSpPr>
          <p:spPr>
            <a:xfrm>
              <a:off x="14777224" y="1992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00E0CB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244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203</a:t>
              </a: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59DA3B5B-D788-45A0-A698-ABE05A9025B0}"/>
                </a:ext>
              </a:extLst>
            </p:cNvPr>
            <p:cNvSpPr/>
            <p:nvPr/>
          </p:nvSpPr>
          <p:spPr>
            <a:xfrm>
              <a:off x="14041053" y="3644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178036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2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2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54</a:t>
              </a: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B988192C-3701-4200-ADA5-936C0610D953}"/>
                </a:ext>
              </a:extLst>
            </p:cNvPr>
            <p:cNvSpPr/>
            <p:nvPr/>
          </p:nvSpPr>
          <p:spPr>
            <a:xfrm>
              <a:off x="14041053" y="3231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178C3D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2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4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61</a:t>
              </a: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FDFAC846-10F6-421E-8B39-673C784E01DE}"/>
                </a:ext>
              </a:extLst>
            </p:cNvPr>
            <p:cNvSpPr/>
            <p:nvPr/>
          </p:nvSpPr>
          <p:spPr>
            <a:xfrm>
              <a:off x="14041053" y="2818581"/>
              <a:ext cx="360865" cy="406800"/>
            </a:xfrm>
            <a:custGeom>
              <a:avLst/>
              <a:gdLst>
                <a:gd name="connsiteX0" fmla="*/ 0 w 1111406"/>
                <a:gd name="connsiteY0" fmla="*/ 0 h 1111407"/>
                <a:gd name="connsiteX1" fmla="*/ 1111407 w 1111406"/>
                <a:gd name="connsiteY1" fmla="*/ 0 h 1111407"/>
                <a:gd name="connsiteX2" fmla="*/ 1111407 w 1111406"/>
                <a:gd name="connsiteY2" fmla="*/ 1111407 h 1111407"/>
                <a:gd name="connsiteX3" fmla="*/ 0 w 1111406"/>
                <a:gd name="connsiteY3" fmla="*/ 1111407 h 111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1111407">
                  <a:moveTo>
                    <a:pt x="0" y="0"/>
                  </a:moveTo>
                  <a:lnTo>
                    <a:pt x="1111407" y="0"/>
                  </a:lnTo>
                  <a:lnTo>
                    <a:pt x="1111407" y="1111407"/>
                  </a:lnTo>
                  <a:lnTo>
                    <a:pt x="0" y="1111407"/>
                  </a:lnTo>
                  <a:close/>
                </a:path>
              </a:pathLst>
            </a:custGeom>
            <a:solidFill>
              <a:srgbClr val="2EA657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4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16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87</a:t>
              </a: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353643F0-22F7-4B48-AE39-5FC8C334472F}"/>
                </a:ext>
              </a:extLst>
            </p:cNvPr>
            <p:cNvSpPr/>
            <p:nvPr/>
          </p:nvSpPr>
          <p:spPr>
            <a:xfrm>
              <a:off x="14041053" y="2405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33B569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5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18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105</a:t>
              </a: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3F41D49-321E-46F2-BE66-44E85399808F}"/>
                </a:ext>
              </a:extLst>
            </p:cNvPr>
            <p:cNvSpPr/>
            <p:nvPr/>
          </p:nvSpPr>
          <p:spPr>
            <a:xfrm>
              <a:off x="14041053" y="1992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57CF80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endParaRPr lang="en-US" sz="700" b="0" dirty="0">
                <a:latin typeface="Ubuntu" panose="020B0504030602030204" pitchFamily="34" charset="0"/>
              </a:endParaRP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8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20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12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endParaRPr lang="en-US" sz="700" b="0" dirty="0">
                <a:latin typeface="Ubuntu" panose="020B0504030602030204" pitchFamily="34" charset="0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99A866AE-65FA-4F9E-98D0-E71681C14AC2}"/>
                </a:ext>
              </a:extLst>
            </p:cNvPr>
            <p:cNvSpPr/>
            <p:nvPr/>
          </p:nvSpPr>
          <p:spPr>
            <a:xfrm>
              <a:off x="15145311" y="3644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173340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2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5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64</a:t>
              </a: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FF63074E-4AF4-4930-9679-FD2D7A0F2A11}"/>
                </a:ext>
              </a:extLst>
            </p:cNvPr>
            <p:cNvSpPr/>
            <p:nvPr/>
          </p:nvSpPr>
          <p:spPr>
            <a:xfrm>
              <a:off x="15145311" y="3231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214554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3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69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84</a:t>
              </a: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56DB4C49-7593-476E-9314-2444B469873A}"/>
                </a:ext>
              </a:extLst>
            </p:cNvPr>
            <p:cNvSpPr/>
            <p:nvPr/>
          </p:nvSpPr>
          <p:spPr>
            <a:xfrm>
              <a:off x="15145311" y="2818581"/>
              <a:ext cx="360865" cy="406800"/>
            </a:xfrm>
            <a:custGeom>
              <a:avLst/>
              <a:gdLst>
                <a:gd name="connsiteX0" fmla="*/ 0 w 1111406"/>
                <a:gd name="connsiteY0" fmla="*/ 0 h 1111407"/>
                <a:gd name="connsiteX1" fmla="*/ 1111407 w 1111406"/>
                <a:gd name="connsiteY1" fmla="*/ 0 h 1111407"/>
                <a:gd name="connsiteX2" fmla="*/ 1111407 w 1111406"/>
                <a:gd name="connsiteY2" fmla="*/ 1111407 h 1111407"/>
                <a:gd name="connsiteX3" fmla="*/ 0 w 1111406"/>
                <a:gd name="connsiteY3" fmla="*/ 1111407 h 111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1111407">
                  <a:moveTo>
                    <a:pt x="0" y="0"/>
                  </a:moveTo>
                  <a:lnTo>
                    <a:pt x="1111407" y="0"/>
                  </a:lnTo>
                  <a:lnTo>
                    <a:pt x="1111407" y="1111407"/>
                  </a:lnTo>
                  <a:lnTo>
                    <a:pt x="0" y="1111407"/>
                  </a:lnTo>
                  <a:close/>
                </a:path>
              </a:pathLst>
            </a:custGeom>
            <a:solidFill>
              <a:srgbClr val="14596B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2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89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07</a:t>
              </a: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2B57E86-9AA1-49BE-93E7-6C1DB4AFDDF9}"/>
                </a:ext>
              </a:extLst>
            </p:cNvPr>
            <p:cNvSpPr/>
            <p:nvPr/>
          </p:nvSpPr>
          <p:spPr>
            <a:xfrm>
              <a:off x="15145311" y="2405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336B7D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5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0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25</a:t>
              </a: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F58D84FF-3235-47A7-A015-65B66A7E9528}"/>
                </a:ext>
              </a:extLst>
            </p:cNvPr>
            <p:cNvSpPr/>
            <p:nvPr/>
          </p:nvSpPr>
          <p:spPr>
            <a:xfrm>
              <a:off x="15145311" y="1992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338091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5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2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45</a:t>
              </a: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0C2FDFFD-39D1-4054-899F-2527AF6109D7}"/>
                </a:ext>
              </a:extLst>
            </p:cNvPr>
            <p:cNvSpPr/>
            <p:nvPr/>
          </p:nvSpPr>
          <p:spPr>
            <a:xfrm>
              <a:off x="14408740" y="3644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007D74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2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16</a:t>
              </a: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3B4493E8-9680-4EA3-9A68-6174B5ADF266}"/>
                </a:ext>
              </a:extLst>
            </p:cNvPr>
            <p:cNvSpPr/>
            <p:nvPr/>
          </p:nvSpPr>
          <p:spPr>
            <a:xfrm>
              <a:off x="14408740" y="3231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00929B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4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solidFill>
                    <a:schemeClr val="bg1"/>
                  </a:solidFill>
                  <a:latin typeface="Ubuntu" panose="020B0504030602030204" pitchFamily="34" charset="0"/>
                </a:rPr>
                <a:t>155</a:t>
              </a: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B4B6B943-D34B-48B2-95E0-76C5F8BA25FA}"/>
                </a:ext>
              </a:extLst>
            </p:cNvPr>
            <p:cNvSpPr/>
            <p:nvPr/>
          </p:nvSpPr>
          <p:spPr>
            <a:xfrm>
              <a:off x="14408740" y="2818581"/>
              <a:ext cx="360865" cy="406800"/>
            </a:xfrm>
            <a:custGeom>
              <a:avLst/>
              <a:gdLst>
                <a:gd name="connsiteX0" fmla="*/ 0 w 1111406"/>
                <a:gd name="connsiteY0" fmla="*/ 0 h 1111407"/>
                <a:gd name="connsiteX1" fmla="*/ 1111407 w 1111406"/>
                <a:gd name="connsiteY1" fmla="*/ 0 h 1111407"/>
                <a:gd name="connsiteX2" fmla="*/ 1111407 w 1111406"/>
                <a:gd name="connsiteY2" fmla="*/ 1111407 h 1111407"/>
                <a:gd name="connsiteX3" fmla="*/ 0 w 1111406"/>
                <a:gd name="connsiteY3" fmla="*/ 1111407 h 111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1111407">
                  <a:moveTo>
                    <a:pt x="0" y="0"/>
                  </a:moveTo>
                  <a:lnTo>
                    <a:pt x="1111407" y="0"/>
                  </a:lnTo>
                  <a:lnTo>
                    <a:pt x="1111407" y="1111407"/>
                  </a:lnTo>
                  <a:lnTo>
                    <a:pt x="0" y="1111407"/>
                  </a:lnTo>
                  <a:close/>
                </a:path>
              </a:pathLst>
            </a:custGeom>
            <a:solidFill>
              <a:srgbClr val="00BFBF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19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191</a:t>
              </a: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B434FFE6-E50A-4EA9-83D4-F9F4917BBCB8}"/>
                </a:ext>
              </a:extLst>
            </p:cNvPr>
            <p:cNvSpPr/>
            <p:nvPr/>
          </p:nvSpPr>
          <p:spPr>
            <a:xfrm>
              <a:off x="14408740" y="2405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00D5D0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21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208</a:t>
              </a: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E0BE1B97-A7F2-4E15-8D45-CD3F50622B5F}"/>
                </a:ext>
              </a:extLst>
            </p:cNvPr>
            <p:cNvSpPr/>
            <p:nvPr/>
          </p:nvSpPr>
          <p:spPr>
            <a:xfrm>
              <a:off x="14408740" y="1992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00E6E3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23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 dirty="0">
                  <a:latin typeface="Ubuntu" panose="020B0504030602030204" pitchFamily="34" charset="0"/>
                </a:rPr>
                <a:t>227</a:t>
              </a:r>
            </a:p>
          </p:txBody>
        </p:sp>
      </p:grpSp>
      <p:sp>
        <p:nvSpPr>
          <p:cNvPr id="65" name="Rectangle 27">
            <a:extLst>
              <a:ext uri="{FF2B5EF4-FFF2-40B4-BE49-F238E27FC236}">
                <a16:creationId xmlns:a16="http://schemas.microsoft.com/office/drawing/2014/main" id="{5B538C81-213B-41EC-BB81-FEF313C9D880}"/>
              </a:ext>
            </a:extLst>
          </p:cNvPr>
          <p:cNvSpPr/>
          <p:nvPr userDrawn="1"/>
        </p:nvSpPr>
        <p:spPr>
          <a:xfrm>
            <a:off x="404813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 noProof="0" dirty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First Lego League</a:t>
            </a:r>
          </a:p>
        </p:txBody>
      </p:sp>
      <p:sp>
        <p:nvSpPr>
          <p:cNvPr id="86" name="Retângulo 43">
            <a:extLst>
              <a:ext uri="{FF2B5EF4-FFF2-40B4-BE49-F238E27FC236}">
                <a16:creationId xmlns:a16="http://schemas.microsoft.com/office/drawing/2014/main" id="{5539996C-DD2A-49D6-AFB0-763FCB2EE440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sp>
        <p:nvSpPr>
          <p:cNvPr id="89" name="Rectangle 27">
            <a:extLst>
              <a:ext uri="{FF2B5EF4-FFF2-40B4-BE49-F238E27FC236}">
                <a16:creationId xmlns:a16="http://schemas.microsoft.com/office/drawing/2014/main" id="{01D50803-B26A-4936-A06C-6E086A6DD719}"/>
              </a:ext>
            </a:extLst>
          </p:cNvPr>
          <p:cNvSpPr/>
          <p:nvPr userDrawn="1"/>
        </p:nvSpPr>
        <p:spPr>
          <a:xfrm>
            <a:off x="722707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noProof="0" dirty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Getting Started</a:t>
            </a:r>
          </a:p>
        </p:txBody>
      </p:sp>
    </p:spTree>
    <p:extLst>
      <p:ext uri="{BB962C8B-B14F-4D97-AF65-F5344CB8AC3E}">
        <p14:creationId xmlns:p14="http://schemas.microsoft.com/office/powerpoint/2010/main" val="3148905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45" r:id="rId2"/>
    <p:sldLayoutId id="2147483964" r:id="rId3"/>
    <p:sldLayoutId id="2147483963" r:id="rId4"/>
    <p:sldLayoutId id="2147483967" r:id="rId5"/>
    <p:sldLayoutId id="2147483966" r:id="rId6"/>
    <p:sldLayoutId id="2147483965" r:id="rId7"/>
    <p:sldLayoutId id="2147483900" r:id="rId8"/>
    <p:sldLayoutId id="2147483901" r:id="rId9"/>
    <p:sldLayoutId id="2147483902" r:id="rId10"/>
    <p:sldLayoutId id="2147483960" r:id="rId11"/>
    <p:sldLayoutId id="2147483905" r:id="rId12"/>
    <p:sldLayoutId id="2147483962" r:id="rId13"/>
    <p:sldLayoutId id="2147483975" r:id="rId14"/>
    <p:sldLayoutId id="2147483976" r:id="rId15"/>
  </p:sldLayoutIdLst>
  <p:hf hdr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600" b="0" i="0" u="none" strike="noStrike" kern="1200" cap="all" spc="0" normalizeH="0" baseline="0" noProof="0" dirty="0">
          <a:ln>
            <a:noFill/>
          </a:ln>
          <a:solidFill>
            <a:schemeClr val="accent4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2pPr>
      <a:lvl3pPr marL="361950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3pPr>
      <a:lvl4pPr marL="5397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Ubuntu" panose="020B0504030602030204" pitchFamily="34" charset="0"/>
        <a:buChar char="–"/>
        <a:defRPr sz="1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4pPr>
      <a:lvl5pPr marL="7175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4071" userDrawn="1">
          <p15:clr>
            <a:srgbClr val="F26B43"/>
          </p15:clr>
        </p15:guide>
        <p15:guide id="4" pos="255" userDrawn="1">
          <p15:clr>
            <a:srgbClr val="F26B43"/>
          </p15:clr>
        </p15:guide>
        <p15:guide id="5" orient="horz" pos="836" userDrawn="1">
          <p15:clr>
            <a:srgbClr val="F26B43"/>
          </p15:clr>
        </p15:guide>
        <p15:guide id="6" orient="horz" pos="245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899" userDrawn="1">
          <p15:clr>
            <a:srgbClr val="F26B43"/>
          </p15:clr>
        </p15:guide>
        <p15:guide id="9" pos="378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2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6.jpg"/><Relationship Id="rId4" Type="http://schemas.openxmlformats.org/officeDocument/2006/relationships/image" Target="../media/image35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g"/><Relationship Id="rId3" Type="http://schemas.openxmlformats.org/officeDocument/2006/relationships/image" Target="../media/image38.jpg"/><Relationship Id="rId7" Type="http://schemas.openxmlformats.org/officeDocument/2006/relationships/image" Target="../media/image42.jp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1.jpg"/><Relationship Id="rId5" Type="http://schemas.openxmlformats.org/officeDocument/2006/relationships/image" Target="../media/image40.jpg"/><Relationship Id="rId4" Type="http://schemas.openxmlformats.org/officeDocument/2006/relationships/image" Target="../media/image39.jpg"/><Relationship Id="rId9" Type="http://schemas.openxmlformats.org/officeDocument/2006/relationships/image" Target="../media/image44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48.jpg"/><Relationship Id="rId4" Type="http://schemas.openxmlformats.org/officeDocument/2006/relationships/image" Target="../media/image47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2.jpg"/><Relationship Id="rId4" Type="http://schemas.openxmlformats.org/officeDocument/2006/relationships/image" Target="../media/image21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4.jpg"/><Relationship Id="rId4" Type="http://schemas.openxmlformats.org/officeDocument/2006/relationships/image" Target="../media/image53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8.jpg"/><Relationship Id="rId4" Type="http://schemas.openxmlformats.org/officeDocument/2006/relationships/image" Target="../media/image57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1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4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7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71.jpg"/><Relationship Id="rId4" Type="http://schemas.openxmlformats.org/officeDocument/2006/relationships/image" Target="../media/image70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g"/><Relationship Id="rId2" Type="http://schemas.openxmlformats.org/officeDocument/2006/relationships/image" Target="../media/image72.jp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g"/><Relationship Id="rId2" Type="http://schemas.openxmlformats.org/officeDocument/2006/relationships/image" Target="../media/image74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76.jp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g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g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g"/><Relationship Id="rId2" Type="http://schemas.openxmlformats.org/officeDocument/2006/relationships/image" Target="../media/image79.jp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82.jpg"/><Relationship Id="rId4" Type="http://schemas.openxmlformats.org/officeDocument/2006/relationships/image" Target="../media/image81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g"/><Relationship Id="rId2" Type="http://schemas.openxmlformats.org/officeDocument/2006/relationships/image" Target="../media/image83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85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g"/><Relationship Id="rId2" Type="http://schemas.openxmlformats.org/officeDocument/2006/relationships/image" Target="../media/image86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88.jp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g"/><Relationship Id="rId2" Type="http://schemas.openxmlformats.org/officeDocument/2006/relationships/image" Target="../media/image91.jp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94.jpg"/><Relationship Id="rId4" Type="http://schemas.openxmlformats.org/officeDocument/2006/relationships/image" Target="../media/image93.jp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g"/><Relationship Id="rId2" Type="http://schemas.openxmlformats.org/officeDocument/2006/relationships/image" Target="../media/image95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97.jp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g"/><Relationship Id="rId2" Type="http://schemas.openxmlformats.org/officeDocument/2006/relationships/image" Target="../media/image98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00.jp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g"/><Relationship Id="rId2" Type="http://schemas.openxmlformats.org/officeDocument/2006/relationships/image" Target="../media/image101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03.jp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jpg"/><Relationship Id="rId3" Type="http://schemas.openxmlformats.org/officeDocument/2006/relationships/image" Target="../media/image105.jpg"/><Relationship Id="rId7" Type="http://schemas.openxmlformats.org/officeDocument/2006/relationships/image" Target="../media/image108.jpg"/><Relationship Id="rId2" Type="http://schemas.openxmlformats.org/officeDocument/2006/relationships/image" Target="../media/image104.jp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1.jpg"/><Relationship Id="rId5" Type="http://schemas.openxmlformats.org/officeDocument/2006/relationships/image" Target="../media/image107.jpg"/><Relationship Id="rId4" Type="http://schemas.openxmlformats.org/officeDocument/2006/relationships/image" Target="../media/image106.jpg"/><Relationship Id="rId9" Type="http://schemas.openxmlformats.org/officeDocument/2006/relationships/image" Target="../media/image110.jp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g"/><Relationship Id="rId2" Type="http://schemas.openxmlformats.org/officeDocument/2006/relationships/image" Target="../media/image111.jp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2.jpg"/><Relationship Id="rId4" Type="http://schemas.openxmlformats.org/officeDocument/2006/relationships/image" Target="../media/image21.jp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g"/><Relationship Id="rId2" Type="http://schemas.openxmlformats.org/officeDocument/2006/relationships/image" Target="../media/image113.jpg"/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jpg"/><Relationship Id="rId2" Type="http://schemas.openxmlformats.org/officeDocument/2006/relationships/image" Target="../media/image115.jpg"/><Relationship Id="rId1" Type="http://schemas.openxmlformats.org/officeDocument/2006/relationships/slideLayout" Target="../slideLayouts/slideLayout1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g"/><Relationship Id="rId2" Type="http://schemas.openxmlformats.org/officeDocument/2006/relationships/image" Target="../media/image117.jpg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g"/><Relationship Id="rId2" Type="http://schemas.openxmlformats.org/officeDocument/2006/relationships/image" Target="../media/image119.jp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jpg"/><Relationship Id="rId1" Type="http://schemas.openxmlformats.org/officeDocument/2006/relationships/slideLayout" Target="../slideLayouts/slideLayout1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image" Target="../media/image8.jpg"/><Relationship Id="rId7" Type="http://schemas.openxmlformats.org/officeDocument/2006/relationships/image" Target="../media/image12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.jpg"/><Relationship Id="rId11" Type="http://schemas.openxmlformats.org/officeDocument/2006/relationships/image" Target="../media/image16.jpg"/><Relationship Id="rId5" Type="http://schemas.openxmlformats.org/officeDocument/2006/relationships/image" Target="../media/image10.jpg"/><Relationship Id="rId10" Type="http://schemas.openxmlformats.org/officeDocument/2006/relationships/image" Target="../media/image15.jpg"/><Relationship Id="rId4" Type="http://schemas.openxmlformats.org/officeDocument/2006/relationships/image" Target="../media/image9.jpg"/><Relationship Id="rId9" Type="http://schemas.openxmlformats.org/officeDocument/2006/relationships/image" Target="../media/image14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9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2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5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7" Type="http://schemas.openxmlformats.org/officeDocument/2006/relationships/image" Target="../media/image31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0.jpg"/><Relationship Id="rId5" Type="http://schemas.openxmlformats.org/officeDocument/2006/relationships/image" Target="../media/image29.jpg"/><Relationship Id="rId4" Type="http://schemas.openxmlformats.org/officeDocument/2006/relationships/image" Target="../media/image2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ED3C452-50D3-B84B-81A6-5B76460EC473}"/>
              </a:ext>
            </a:extLst>
          </p:cNvPr>
          <p:cNvSpPr/>
          <p:nvPr/>
        </p:nvSpPr>
        <p:spPr>
          <a:xfrm>
            <a:off x="228600" y="304800"/>
            <a:ext cx="11595056" cy="1905000"/>
          </a:xfrm>
          <a:prstGeom prst="rect">
            <a:avLst/>
          </a:prstGeom>
          <a:solidFill>
            <a:schemeClr val="tx1"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03D62A1-C89C-0A48-8B72-30FD0BF2FD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8344" y="1306017"/>
            <a:ext cx="11386134" cy="661720"/>
          </a:xfrm>
        </p:spPr>
        <p:txBody>
          <a:bodyPr/>
          <a:lstStyle/>
          <a:p>
            <a:r>
              <a:rPr lang="en-US" sz="4000" b="1" dirty="0">
                <a:ln>
                  <a:solidFill>
                    <a:schemeClr val="accent3">
                      <a:lumMod val="75000"/>
                      <a:lumOff val="2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</a:rPr>
              <a:t>Basic Driving Bas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CA5C54-E99B-4F4D-93D4-89083EC8D8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472" y="428854"/>
            <a:ext cx="11386134" cy="877163"/>
          </a:xfrm>
        </p:spPr>
        <p:txBody>
          <a:bodyPr/>
          <a:lstStyle/>
          <a:p>
            <a:r>
              <a:rPr lang="en-US" dirty="0">
                <a:ln>
                  <a:solidFill>
                    <a:schemeClr val="bg1"/>
                  </a:solidFill>
                </a:ln>
                <a:solidFill>
                  <a:schemeClr val="accent3">
                    <a:lumMod val="90000"/>
                    <a:lumOff val="10000"/>
                  </a:schemeClr>
                </a:solidFill>
              </a:rPr>
              <a:t>First LEGO League</a:t>
            </a:r>
          </a:p>
        </p:txBody>
      </p:sp>
    </p:spTree>
    <p:extLst>
      <p:ext uri="{BB962C8B-B14F-4D97-AF65-F5344CB8AC3E}">
        <p14:creationId xmlns:p14="http://schemas.microsoft.com/office/powerpoint/2010/main" val="32231076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Image6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3087" y="1452703"/>
            <a:ext cx="7300656" cy="4997803"/>
          </a:xfrm>
          <a:prstGeom prst="rect">
            <a:avLst/>
          </a:prstGeom>
          <a:noFill/>
        </p:spPr>
      </p:pic>
      <p:grpSp>
        <p:nvGrpSpPr>
          <p:cNvPr id="70" name="Group70"/>
          <p:cNvGrpSpPr/>
          <p:nvPr/>
        </p:nvGrpSpPr>
        <p:grpSpPr>
          <a:xfrm>
            <a:off x="1979471" y="225775"/>
            <a:ext cx="2566151" cy="802146"/>
            <a:chOff x="355528" y="175185"/>
            <a:chExt cx="1991143" cy="622406"/>
          </a:xfrm>
        </p:grpSpPr>
        <p:pic>
          <p:nvPicPr>
            <p:cNvPr id="71" name="Image7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061" y="184807"/>
              <a:ext cx="1972077" cy="603257"/>
            </a:xfrm>
            <a:prstGeom prst="rect">
              <a:avLst/>
            </a:prstGeom>
            <a:noFill/>
          </p:spPr>
        </p:pic>
        <p:sp>
          <p:nvSpPr>
            <p:cNvPr id="72" name="Path72"/>
            <p:cNvSpPr/>
            <p:nvPr/>
          </p:nvSpPr>
          <p:spPr>
            <a:xfrm>
              <a:off x="355528" y="175185"/>
              <a:ext cx="1991143" cy="622406"/>
            </a:xfrm>
            <a:custGeom>
              <a:avLst/>
              <a:gdLst/>
              <a:ahLst/>
              <a:cxnLst/>
              <a:rect l="l" t="t" r="r" b="b"/>
              <a:pathLst>
                <a:path w="1991143" h="622406">
                  <a:moveTo>
                    <a:pt x="94756" y="9622"/>
                  </a:moveTo>
                  <a:cubicBezTo>
                    <a:pt x="63107" y="9939"/>
                    <a:pt x="9533" y="28257"/>
                    <a:pt x="9533" y="94883"/>
                  </a:cubicBezTo>
                  <a:lnTo>
                    <a:pt x="9533" y="527618"/>
                  </a:lnTo>
                  <a:cubicBezTo>
                    <a:pt x="9838" y="559375"/>
                    <a:pt x="28141" y="612879"/>
                    <a:pt x="94845" y="612879"/>
                  </a:cubicBezTo>
                  <a:lnTo>
                    <a:pt x="1896310" y="612879"/>
                  </a:lnTo>
                  <a:cubicBezTo>
                    <a:pt x="1928074" y="612574"/>
                    <a:pt x="1981610" y="594282"/>
                    <a:pt x="1981610" y="527618"/>
                  </a:cubicBezTo>
                  <a:lnTo>
                    <a:pt x="1981610" y="94883"/>
                  </a:lnTo>
                  <a:cubicBezTo>
                    <a:pt x="1981318" y="63126"/>
                    <a:pt x="1963002" y="9622"/>
                    <a:pt x="1896310" y="9622"/>
                  </a:cubicBezTo>
                  <a:lnTo>
                    <a:pt x="94896" y="9622"/>
                  </a:lnTo>
                  <a:lnTo>
                    <a:pt x="94756" y="9622"/>
                  </a:lnTo>
                  <a:close/>
                </a:path>
              </a:pathLst>
            </a:custGeom>
            <a:solidFill>
              <a:srgbClr val="DCDDD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73" name="Image7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15356" y="347213"/>
              <a:ext cx="271494" cy="176824"/>
            </a:xfrm>
            <a:prstGeom prst="rect">
              <a:avLst/>
            </a:prstGeom>
            <a:noFill/>
          </p:spPr>
        </p:pic>
      </p:grpSp>
      <p:sp>
        <p:nvSpPr>
          <p:cNvPr id="74" name="Text Box74"/>
          <p:cNvSpPr txBox="1"/>
          <p:nvPr/>
        </p:nvSpPr>
        <p:spPr>
          <a:xfrm>
            <a:off x="3087601" y="662008"/>
            <a:ext cx="190830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14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8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75" name="Text Box75"/>
          <p:cNvSpPr txBox="1"/>
          <p:nvPr/>
        </p:nvSpPr>
        <p:spPr>
          <a:xfrm>
            <a:off x="1985613" y="1041175"/>
            <a:ext cx="283351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15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5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Image7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6792" y="2717114"/>
            <a:ext cx="3184455" cy="2597128"/>
          </a:xfrm>
          <a:prstGeom prst="rect">
            <a:avLst/>
          </a:prstGeom>
          <a:noFill/>
        </p:spPr>
      </p:pic>
      <p:pic>
        <p:nvPicPr>
          <p:cNvPr id="77" name="Image7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1757" y="2103396"/>
            <a:ext cx="2541579" cy="2047346"/>
          </a:xfrm>
          <a:prstGeom prst="rect">
            <a:avLst/>
          </a:prstGeom>
          <a:noFill/>
        </p:spPr>
      </p:pic>
      <p:grpSp>
        <p:nvGrpSpPr>
          <p:cNvPr id="78" name="Group78"/>
          <p:cNvGrpSpPr/>
          <p:nvPr/>
        </p:nvGrpSpPr>
        <p:grpSpPr>
          <a:xfrm>
            <a:off x="1979471" y="225852"/>
            <a:ext cx="2566151" cy="1645511"/>
            <a:chOff x="355528" y="175244"/>
            <a:chExt cx="1991143" cy="1276795"/>
          </a:xfrm>
        </p:grpSpPr>
        <p:pic>
          <p:nvPicPr>
            <p:cNvPr id="79" name="Image7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5061" y="184806"/>
              <a:ext cx="1972077" cy="1257707"/>
            </a:xfrm>
            <a:prstGeom prst="rect">
              <a:avLst/>
            </a:prstGeom>
            <a:noFill/>
          </p:spPr>
        </p:pic>
        <p:sp>
          <p:nvSpPr>
            <p:cNvPr id="80" name="Path80"/>
            <p:cNvSpPr/>
            <p:nvPr/>
          </p:nvSpPr>
          <p:spPr>
            <a:xfrm>
              <a:off x="355528" y="175244"/>
              <a:ext cx="1991143" cy="1276795"/>
            </a:xfrm>
            <a:custGeom>
              <a:avLst/>
              <a:gdLst/>
              <a:ahLst/>
              <a:cxnLst/>
              <a:rect l="l" t="t" r="r" b="b"/>
              <a:pathLst>
                <a:path w="1991143" h="1276795">
                  <a:moveTo>
                    <a:pt x="94845" y="9562"/>
                  </a:moveTo>
                  <a:cubicBezTo>
                    <a:pt x="91362" y="9575"/>
                    <a:pt x="9533" y="10718"/>
                    <a:pt x="9533" y="94823"/>
                  </a:cubicBezTo>
                  <a:lnTo>
                    <a:pt x="9533" y="1182007"/>
                  </a:lnTo>
                  <a:cubicBezTo>
                    <a:pt x="9545" y="1185487"/>
                    <a:pt x="10689" y="1267268"/>
                    <a:pt x="94845" y="1267268"/>
                  </a:cubicBezTo>
                  <a:lnTo>
                    <a:pt x="1896310" y="1267268"/>
                  </a:lnTo>
                  <a:cubicBezTo>
                    <a:pt x="1899780" y="1267255"/>
                    <a:pt x="1981610" y="1266112"/>
                    <a:pt x="1981610" y="1182007"/>
                  </a:cubicBezTo>
                  <a:lnTo>
                    <a:pt x="1981610" y="94823"/>
                  </a:lnTo>
                  <a:cubicBezTo>
                    <a:pt x="1981610" y="91343"/>
                    <a:pt x="1980453" y="9562"/>
                    <a:pt x="1896310" y="9562"/>
                  </a:cubicBezTo>
                  <a:lnTo>
                    <a:pt x="94845" y="9562"/>
                  </a:lnTo>
                  <a:lnTo>
                    <a:pt x="94845" y="9562"/>
                  </a:lnTo>
                  <a:close/>
                </a:path>
              </a:pathLst>
            </a:custGeom>
            <a:solidFill>
              <a:srgbClr val="FFFFF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81" name="Image8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97132" y="312455"/>
              <a:ext cx="1107940" cy="1002408"/>
            </a:xfrm>
            <a:prstGeom prst="rect">
              <a:avLst/>
            </a:prstGeom>
            <a:noFill/>
          </p:spPr>
        </p:pic>
      </p:grpSp>
      <p:sp>
        <p:nvSpPr>
          <p:cNvPr id="82" name="Text Box82"/>
          <p:cNvSpPr txBox="1"/>
          <p:nvPr/>
        </p:nvSpPr>
        <p:spPr>
          <a:xfrm>
            <a:off x="2206964" y="3873329"/>
            <a:ext cx="168880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10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83" name="Text Box83"/>
          <p:cNvSpPr txBox="1"/>
          <p:nvPr/>
        </p:nvSpPr>
        <p:spPr>
          <a:xfrm>
            <a:off x="1985613" y="4176271"/>
            <a:ext cx="288887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28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6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Image8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3368" y="3715100"/>
            <a:ext cx="723382" cy="1591282"/>
          </a:xfrm>
          <a:prstGeom prst="rect">
            <a:avLst/>
          </a:prstGeom>
          <a:noFill/>
        </p:spPr>
      </p:pic>
      <p:pic>
        <p:nvPicPr>
          <p:cNvPr id="85" name="Image8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0720" y="4359468"/>
            <a:ext cx="715521" cy="962627"/>
          </a:xfrm>
          <a:prstGeom prst="rect">
            <a:avLst/>
          </a:prstGeom>
          <a:noFill/>
        </p:spPr>
      </p:pic>
      <p:grpSp>
        <p:nvGrpSpPr>
          <p:cNvPr id="86" name="Group86"/>
          <p:cNvGrpSpPr/>
          <p:nvPr/>
        </p:nvGrpSpPr>
        <p:grpSpPr>
          <a:xfrm>
            <a:off x="1979471" y="1247552"/>
            <a:ext cx="2566151" cy="1019032"/>
            <a:chOff x="355528" y="968008"/>
            <a:chExt cx="1991143" cy="790693"/>
          </a:xfrm>
        </p:grpSpPr>
        <p:pic>
          <p:nvPicPr>
            <p:cNvPr id="87" name="Image8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5061" y="977631"/>
              <a:ext cx="1972077" cy="771544"/>
            </a:xfrm>
            <a:prstGeom prst="rect">
              <a:avLst/>
            </a:prstGeom>
            <a:noFill/>
          </p:spPr>
        </p:pic>
        <p:sp>
          <p:nvSpPr>
            <p:cNvPr id="88" name="Path88"/>
            <p:cNvSpPr/>
            <p:nvPr/>
          </p:nvSpPr>
          <p:spPr>
            <a:xfrm>
              <a:off x="355528" y="968008"/>
              <a:ext cx="1991143" cy="790693"/>
            </a:xfrm>
            <a:custGeom>
              <a:avLst/>
              <a:gdLst/>
              <a:ahLst/>
              <a:cxnLst/>
              <a:rect l="l" t="t" r="r" b="b"/>
              <a:pathLst>
                <a:path w="1991143" h="790693">
                  <a:moveTo>
                    <a:pt x="94756" y="9622"/>
                  </a:moveTo>
                  <a:cubicBezTo>
                    <a:pt x="63107" y="9940"/>
                    <a:pt x="9533" y="28257"/>
                    <a:pt x="9533" y="94884"/>
                  </a:cubicBezTo>
                  <a:lnTo>
                    <a:pt x="9533" y="695905"/>
                  </a:lnTo>
                  <a:cubicBezTo>
                    <a:pt x="9838" y="727662"/>
                    <a:pt x="28141" y="781166"/>
                    <a:pt x="94845" y="781166"/>
                  </a:cubicBezTo>
                  <a:lnTo>
                    <a:pt x="1896310" y="781166"/>
                  </a:lnTo>
                  <a:cubicBezTo>
                    <a:pt x="1928074" y="780861"/>
                    <a:pt x="1981610" y="762557"/>
                    <a:pt x="1981610" y="695905"/>
                  </a:cubicBezTo>
                  <a:lnTo>
                    <a:pt x="1981610" y="94884"/>
                  </a:lnTo>
                  <a:cubicBezTo>
                    <a:pt x="1981318" y="63127"/>
                    <a:pt x="1963002" y="9622"/>
                    <a:pt x="1896310" y="9622"/>
                  </a:cubicBezTo>
                  <a:lnTo>
                    <a:pt x="94896" y="9622"/>
                  </a:lnTo>
                  <a:lnTo>
                    <a:pt x="94756" y="9622"/>
                  </a:lnTo>
                  <a:close/>
                </a:path>
              </a:pathLst>
            </a:custGeom>
            <a:solidFill>
              <a:srgbClr val="DCDDD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89" name="Image8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75918" y="1285152"/>
              <a:ext cx="393513" cy="259138"/>
            </a:xfrm>
            <a:prstGeom prst="rect">
              <a:avLst/>
            </a:prstGeom>
            <a:noFill/>
          </p:spPr>
        </p:pic>
        <p:pic>
          <p:nvPicPr>
            <p:cNvPr id="90" name="Image9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529724" y="1080891"/>
              <a:ext cx="396564" cy="463399"/>
            </a:xfrm>
            <a:prstGeom prst="rect">
              <a:avLst/>
            </a:prstGeom>
            <a:noFill/>
          </p:spPr>
        </p:pic>
      </p:grpSp>
      <p:grpSp>
        <p:nvGrpSpPr>
          <p:cNvPr id="91" name="Group91"/>
          <p:cNvGrpSpPr/>
          <p:nvPr/>
        </p:nvGrpSpPr>
        <p:grpSpPr>
          <a:xfrm>
            <a:off x="1979471" y="225852"/>
            <a:ext cx="2566151" cy="802068"/>
            <a:chOff x="355528" y="175244"/>
            <a:chExt cx="1991143" cy="622345"/>
          </a:xfrm>
        </p:grpSpPr>
        <p:pic>
          <p:nvPicPr>
            <p:cNvPr id="92" name="Image9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5061" y="184806"/>
              <a:ext cx="1972077" cy="603257"/>
            </a:xfrm>
            <a:prstGeom prst="rect">
              <a:avLst/>
            </a:prstGeom>
            <a:noFill/>
          </p:spPr>
        </p:pic>
        <p:sp>
          <p:nvSpPr>
            <p:cNvPr id="93" name="Path93"/>
            <p:cNvSpPr/>
            <p:nvPr/>
          </p:nvSpPr>
          <p:spPr>
            <a:xfrm>
              <a:off x="355528" y="175244"/>
              <a:ext cx="1991143" cy="622345"/>
            </a:xfrm>
            <a:custGeom>
              <a:avLst/>
              <a:gdLst/>
              <a:ahLst/>
              <a:cxnLst/>
              <a:rect l="l" t="t" r="r" b="b"/>
              <a:pathLst>
                <a:path w="1991143" h="622345">
                  <a:moveTo>
                    <a:pt x="94845" y="9562"/>
                  </a:moveTo>
                  <a:cubicBezTo>
                    <a:pt x="91362" y="9575"/>
                    <a:pt x="9533" y="10718"/>
                    <a:pt x="9533" y="94823"/>
                  </a:cubicBezTo>
                  <a:lnTo>
                    <a:pt x="9533" y="527557"/>
                  </a:lnTo>
                  <a:cubicBezTo>
                    <a:pt x="9545" y="531038"/>
                    <a:pt x="10689" y="612819"/>
                    <a:pt x="94845" y="612819"/>
                  </a:cubicBezTo>
                  <a:lnTo>
                    <a:pt x="1896310" y="612819"/>
                  </a:lnTo>
                  <a:cubicBezTo>
                    <a:pt x="1899780" y="612806"/>
                    <a:pt x="1981610" y="611663"/>
                    <a:pt x="1981610" y="527557"/>
                  </a:cubicBezTo>
                  <a:lnTo>
                    <a:pt x="1981610" y="94823"/>
                  </a:lnTo>
                  <a:cubicBezTo>
                    <a:pt x="1981610" y="91343"/>
                    <a:pt x="1980453" y="9562"/>
                    <a:pt x="1896310" y="9562"/>
                  </a:cubicBezTo>
                  <a:lnTo>
                    <a:pt x="94845" y="9562"/>
                  </a:lnTo>
                  <a:lnTo>
                    <a:pt x="94845" y="9562"/>
                  </a:lnTo>
                  <a:close/>
                </a:path>
              </a:pathLst>
            </a:custGeom>
            <a:solidFill>
              <a:srgbClr val="FFFFF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94" name="Image9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29258" y="360083"/>
              <a:ext cx="222076" cy="298770"/>
            </a:xfrm>
            <a:prstGeom prst="rect">
              <a:avLst/>
            </a:prstGeom>
            <a:noFill/>
          </p:spPr>
        </p:pic>
        <p:pic>
          <p:nvPicPr>
            <p:cNvPr id="95" name="Image95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351102" y="360083"/>
              <a:ext cx="222076" cy="298770"/>
            </a:xfrm>
            <a:prstGeom prst="rect">
              <a:avLst/>
            </a:prstGeom>
            <a:noFill/>
          </p:spPr>
        </p:pic>
      </p:grpSp>
      <p:sp>
        <p:nvSpPr>
          <p:cNvPr id="96" name="Text Box96"/>
          <p:cNvSpPr txBox="1"/>
          <p:nvPr/>
        </p:nvSpPr>
        <p:spPr>
          <a:xfrm>
            <a:off x="2521261" y="1976893"/>
            <a:ext cx="1164485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6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x</a:t>
            </a:r>
            <a:r>
              <a:rPr lang="en-US" altLang="zh-CN" sz="1031" spc="6233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 </a:t>
            </a:r>
            <a:r>
              <a:rPr lang="en-US" altLang="zh-CN" sz="1031" spc="-6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97" name="Text Box97"/>
          <p:cNvSpPr txBox="1"/>
          <p:nvPr/>
        </p:nvSpPr>
        <p:spPr>
          <a:xfrm>
            <a:off x="1985613" y="2279835"/>
            <a:ext cx="268870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130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7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" name="Group98"/>
          <p:cNvGrpSpPr/>
          <p:nvPr/>
        </p:nvGrpSpPr>
        <p:grpSpPr>
          <a:xfrm>
            <a:off x="4864524" y="-16375"/>
            <a:ext cx="3550076" cy="5973887"/>
            <a:chOff x="2594116" y="-12706"/>
            <a:chExt cx="2754596" cy="4635294"/>
          </a:xfrm>
        </p:grpSpPr>
        <p:pic>
          <p:nvPicPr>
            <p:cNvPr id="99" name="Image9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94116" y="2116571"/>
              <a:ext cx="2754596" cy="2506017"/>
            </a:xfrm>
            <a:prstGeom prst="rect">
              <a:avLst/>
            </a:prstGeom>
            <a:noFill/>
          </p:spPr>
        </p:pic>
        <p:pic>
          <p:nvPicPr>
            <p:cNvPr id="100" name="Image10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5069" y="0"/>
              <a:ext cx="1339164" cy="4103862"/>
            </a:xfrm>
            <a:prstGeom prst="rect">
              <a:avLst/>
            </a:prstGeom>
            <a:noFill/>
          </p:spPr>
        </p:pic>
        <p:sp>
          <p:nvSpPr>
            <p:cNvPr id="101" name="Path101"/>
            <p:cNvSpPr/>
            <p:nvPr/>
          </p:nvSpPr>
          <p:spPr>
            <a:xfrm>
              <a:off x="2712076" y="-12706"/>
              <a:ext cx="1225534" cy="3973760"/>
            </a:xfrm>
            <a:custGeom>
              <a:avLst/>
              <a:gdLst/>
              <a:ahLst/>
              <a:cxnLst/>
              <a:rect l="l" t="t" r="r" b="b"/>
              <a:pathLst>
                <a:path w="1225534" h="3973760">
                  <a:moveTo>
                    <a:pt x="12710" y="1875686"/>
                  </a:moveTo>
                  <a:lnTo>
                    <a:pt x="1212823" y="1875686"/>
                  </a:lnTo>
                  <a:lnTo>
                    <a:pt x="1212823" y="3961057"/>
                  </a:lnTo>
                  <a:moveTo>
                    <a:pt x="12710" y="12703"/>
                  </a:moveTo>
                  <a:lnTo>
                    <a:pt x="12710" y="3112115"/>
                  </a:lnTo>
                </a:path>
              </a:pathLst>
            </a:custGeom>
            <a:solidFill>
              <a:srgbClr val="000000">
                <a:alpha val="0"/>
              </a:srgbClr>
            </a:solidFill>
            <a:ln w="1270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102" name="Image10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867044" y="3933139"/>
              <a:ext cx="115714" cy="158887"/>
            </a:xfrm>
            <a:prstGeom prst="rect">
              <a:avLst/>
            </a:prstGeom>
            <a:noFill/>
          </p:spPr>
        </p:pic>
        <p:pic>
          <p:nvPicPr>
            <p:cNvPr id="103" name="Image10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666929" y="3084200"/>
              <a:ext cx="115715" cy="158887"/>
            </a:xfrm>
            <a:prstGeom prst="rect">
              <a:avLst/>
            </a:prstGeom>
            <a:noFill/>
          </p:spPr>
        </p:pic>
      </p:grpSp>
      <p:sp>
        <p:nvSpPr>
          <p:cNvPr id="104" name="Text Box104"/>
          <p:cNvSpPr txBox="1"/>
          <p:nvPr/>
        </p:nvSpPr>
        <p:spPr>
          <a:xfrm>
            <a:off x="1985612" y="251429"/>
            <a:ext cx="286331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8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8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" name="Image10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6332" y="2169167"/>
            <a:ext cx="3581529" cy="3213995"/>
          </a:xfrm>
          <a:prstGeom prst="rect">
            <a:avLst/>
          </a:prstGeom>
          <a:noFill/>
        </p:spPr>
      </p:pic>
      <p:pic>
        <p:nvPicPr>
          <p:cNvPr id="106" name="Image10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6203" y="1959017"/>
            <a:ext cx="736086" cy="719301"/>
          </a:xfrm>
          <a:prstGeom prst="rect">
            <a:avLst/>
          </a:prstGeom>
          <a:noFill/>
        </p:spPr>
      </p:pic>
      <p:grpSp>
        <p:nvGrpSpPr>
          <p:cNvPr id="107" name="Group107"/>
          <p:cNvGrpSpPr/>
          <p:nvPr/>
        </p:nvGrpSpPr>
        <p:grpSpPr>
          <a:xfrm>
            <a:off x="1979471" y="225775"/>
            <a:ext cx="2566151" cy="802146"/>
            <a:chOff x="355528" y="175185"/>
            <a:chExt cx="1991143" cy="622406"/>
          </a:xfrm>
        </p:grpSpPr>
        <p:pic>
          <p:nvPicPr>
            <p:cNvPr id="108" name="Image10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5061" y="184807"/>
              <a:ext cx="1972077" cy="603257"/>
            </a:xfrm>
            <a:prstGeom prst="rect">
              <a:avLst/>
            </a:prstGeom>
            <a:noFill/>
          </p:spPr>
        </p:pic>
        <p:sp>
          <p:nvSpPr>
            <p:cNvPr id="109" name="Path109"/>
            <p:cNvSpPr/>
            <p:nvPr/>
          </p:nvSpPr>
          <p:spPr>
            <a:xfrm>
              <a:off x="355528" y="175185"/>
              <a:ext cx="1991143" cy="622406"/>
            </a:xfrm>
            <a:custGeom>
              <a:avLst/>
              <a:gdLst/>
              <a:ahLst/>
              <a:cxnLst/>
              <a:rect l="l" t="t" r="r" b="b"/>
              <a:pathLst>
                <a:path w="1991143" h="622406">
                  <a:moveTo>
                    <a:pt x="94756" y="9622"/>
                  </a:moveTo>
                  <a:cubicBezTo>
                    <a:pt x="63107" y="9939"/>
                    <a:pt x="9533" y="28257"/>
                    <a:pt x="9533" y="94883"/>
                  </a:cubicBezTo>
                  <a:lnTo>
                    <a:pt x="9533" y="527618"/>
                  </a:lnTo>
                  <a:cubicBezTo>
                    <a:pt x="9838" y="559375"/>
                    <a:pt x="28141" y="612879"/>
                    <a:pt x="94845" y="612879"/>
                  </a:cubicBezTo>
                  <a:lnTo>
                    <a:pt x="1896310" y="612879"/>
                  </a:lnTo>
                  <a:cubicBezTo>
                    <a:pt x="1928074" y="612574"/>
                    <a:pt x="1981610" y="594282"/>
                    <a:pt x="1981610" y="527618"/>
                  </a:cubicBezTo>
                  <a:lnTo>
                    <a:pt x="1981610" y="94883"/>
                  </a:lnTo>
                  <a:cubicBezTo>
                    <a:pt x="1981318" y="63126"/>
                    <a:pt x="1963002" y="9622"/>
                    <a:pt x="1896310" y="9622"/>
                  </a:cubicBezTo>
                  <a:lnTo>
                    <a:pt x="94896" y="9622"/>
                  </a:lnTo>
                  <a:lnTo>
                    <a:pt x="94756" y="9622"/>
                  </a:lnTo>
                  <a:close/>
                </a:path>
              </a:pathLst>
            </a:custGeom>
            <a:solidFill>
              <a:srgbClr val="DCDDD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110" name="Image11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15356" y="347213"/>
              <a:ext cx="271494" cy="176824"/>
            </a:xfrm>
            <a:prstGeom prst="rect">
              <a:avLst/>
            </a:prstGeom>
            <a:noFill/>
          </p:spPr>
        </p:pic>
      </p:grpSp>
      <p:sp>
        <p:nvSpPr>
          <p:cNvPr id="111" name="Text Box111"/>
          <p:cNvSpPr txBox="1"/>
          <p:nvPr/>
        </p:nvSpPr>
        <p:spPr>
          <a:xfrm>
            <a:off x="3087601" y="662008"/>
            <a:ext cx="192993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6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112" name="Text Box112"/>
          <p:cNvSpPr txBox="1"/>
          <p:nvPr/>
        </p:nvSpPr>
        <p:spPr>
          <a:xfrm>
            <a:off x="1985613" y="1041175"/>
            <a:ext cx="288035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2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9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" name="Image1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4538" y="2169167"/>
            <a:ext cx="3593322" cy="3213995"/>
          </a:xfrm>
          <a:prstGeom prst="rect">
            <a:avLst/>
          </a:prstGeom>
          <a:noFill/>
        </p:spPr>
      </p:pic>
      <p:grpSp>
        <p:nvGrpSpPr>
          <p:cNvPr id="114" name="Group114"/>
          <p:cNvGrpSpPr/>
          <p:nvPr/>
        </p:nvGrpSpPr>
        <p:grpSpPr>
          <a:xfrm>
            <a:off x="1979471" y="225776"/>
            <a:ext cx="2566151" cy="1046535"/>
            <a:chOff x="355528" y="175185"/>
            <a:chExt cx="1991143" cy="812034"/>
          </a:xfrm>
        </p:grpSpPr>
        <p:pic>
          <p:nvPicPr>
            <p:cNvPr id="115" name="Image11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061" y="184807"/>
              <a:ext cx="1972077" cy="792886"/>
            </a:xfrm>
            <a:prstGeom prst="rect">
              <a:avLst/>
            </a:prstGeom>
            <a:noFill/>
          </p:spPr>
        </p:pic>
        <p:sp>
          <p:nvSpPr>
            <p:cNvPr id="116" name="Path116"/>
            <p:cNvSpPr/>
            <p:nvPr/>
          </p:nvSpPr>
          <p:spPr>
            <a:xfrm>
              <a:off x="355528" y="175185"/>
              <a:ext cx="1991143" cy="812034"/>
            </a:xfrm>
            <a:custGeom>
              <a:avLst/>
              <a:gdLst/>
              <a:ahLst/>
              <a:cxnLst/>
              <a:rect l="l" t="t" r="r" b="b"/>
              <a:pathLst>
                <a:path w="1991143" h="812034">
                  <a:moveTo>
                    <a:pt x="94756" y="9622"/>
                  </a:moveTo>
                  <a:cubicBezTo>
                    <a:pt x="63107" y="9939"/>
                    <a:pt x="9533" y="28257"/>
                    <a:pt x="9533" y="94883"/>
                  </a:cubicBezTo>
                  <a:lnTo>
                    <a:pt x="9533" y="717245"/>
                  </a:lnTo>
                  <a:cubicBezTo>
                    <a:pt x="9838" y="749002"/>
                    <a:pt x="28141" y="802507"/>
                    <a:pt x="94845" y="802507"/>
                  </a:cubicBezTo>
                  <a:lnTo>
                    <a:pt x="1896310" y="802507"/>
                  </a:lnTo>
                  <a:cubicBezTo>
                    <a:pt x="1928074" y="802202"/>
                    <a:pt x="1981610" y="783897"/>
                    <a:pt x="1981610" y="717245"/>
                  </a:cubicBezTo>
                  <a:lnTo>
                    <a:pt x="1981610" y="94883"/>
                  </a:lnTo>
                  <a:cubicBezTo>
                    <a:pt x="1981318" y="63126"/>
                    <a:pt x="1963002" y="9622"/>
                    <a:pt x="1896310" y="9622"/>
                  </a:cubicBezTo>
                  <a:lnTo>
                    <a:pt x="94896" y="9622"/>
                  </a:lnTo>
                  <a:lnTo>
                    <a:pt x="94756" y="9622"/>
                  </a:lnTo>
                  <a:close/>
                </a:path>
              </a:pathLst>
            </a:custGeom>
            <a:solidFill>
              <a:srgbClr val="DCDDD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117" name="Image11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36927" y="595983"/>
              <a:ext cx="271494" cy="176824"/>
            </a:xfrm>
            <a:prstGeom prst="rect">
              <a:avLst/>
            </a:prstGeom>
            <a:noFill/>
          </p:spPr>
        </p:pic>
        <p:pic>
          <p:nvPicPr>
            <p:cNvPr id="118" name="Image11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68714" y="288068"/>
              <a:ext cx="396564" cy="484740"/>
            </a:xfrm>
            <a:prstGeom prst="rect">
              <a:avLst/>
            </a:prstGeom>
            <a:noFill/>
          </p:spPr>
        </p:pic>
      </p:grpSp>
      <p:sp>
        <p:nvSpPr>
          <p:cNvPr id="119" name="Text Box119"/>
          <p:cNvSpPr txBox="1"/>
          <p:nvPr/>
        </p:nvSpPr>
        <p:spPr>
          <a:xfrm>
            <a:off x="2599890" y="982619"/>
            <a:ext cx="983116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6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x</a:t>
            </a:r>
            <a:r>
              <a:rPr lang="en-US" altLang="zh-CN" sz="1031" spc="4994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 </a:t>
            </a:r>
            <a:r>
              <a:rPr lang="en-US" altLang="zh-CN" sz="1031" spc="-10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120" name="Text Box120"/>
          <p:cNvSpPr txBox="1"/>
          <p:nvPr/>
        </p:nvSpPr>
        <p:spPr>
          <a:xfrm>
            <a:off x="1985613" y="1285561"/>
            <a:ext cx="463507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228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0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" name="Image1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0527" y="2084524"/>
            <a:ext cx="3707333" cy="3316153"/>
          </a:xfrm>
          <a:prstGeom prst="rect">
            <a:avLst/>
          </a:prstGeom>
          <a:noFill/>
        </p:spPr>
      </p:pic>
      <p:grpSp>
        <p:nvGrpSpPr>
          <p:cNvPr id="122" name="Group122"/>
          <p:cNvGrpSpPr/>
          <p:nvPr/>
        </p:nvGrpSpPr>
        <p:grpSpPr>
          <a:xfrm>
            <a:off x="1979471" y="225776"/>
            <a:ext cx="2566151" cy="1297996"/>
            <a:chOff x="355528" y="175185"/>
            <a:chExt cx="1991143" cy="1007149"/>
          </a:xfrm>
        </p:grpSpPr>
        <p:pic>
          <p:nvPicPr>
            <p:cNvPr id="123" name="Image12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061" y="184807"/>
              <a:ext cx="1972077" cy="988001"/>
            </a:xfrm>
            <a:prstGeom prst="rect">
              <a:avLst/>
            </a:prstGeom>
            <a:noFill/>
          </p:spPr>
        </p:pic>
        <p:sp>
          <p:nvSpPr>
            <p:cNvPr id="124" name="Path124"/>
            <p:cNvSpPr/>
            <p:nvPr/>
          </p:nvSpPr>
          <p:spPr>
            <a:xfrm>
              <a:off x="355528" y="175185"/>
              <a:ext cx="1991143" cy="1007149"/>
            </a:xfrm>
            <a:custGeom>
              <a:avLst/>
              <a:gdLst/>
              <a:ahLst/>
              <a:cxnLst/>
              <a:rect l="l" t="t" r="r" b="b"/>
              <a:pathLst>
                <a:path w="1991143" h="1007149">
                  <a:moveTo>
                    <a:pt x="94756" y="9622"/>
                  </a:moveTo>
                  <a:cubicBezTo>
                    <a:pt x="63107" y="9939"/>
                    <a:pt x="9533" y="28257"/>
                    <a:pt x="9533" y="94883"/>
                  </a:cubicBezTo>
                  <a:lnTo>
                    <a:pt x="9533" y="912361"/>
                  </a:lnTo>
                  <a:cubicBezTo>
                    <a:pt x="9838" y="944118"/>
                    <a:pt x="28141" y="997622"/>
                    <a:pt x="94845" y="997622"/>
                  </a:cubicBezTo>
                  <a:lnTo>
                    <a:pt x="1896310" y="997622"/>
                  </a:lnTo>
                  <a:cubicBezTo>
                    <a:pt x="1928074" y="997317"/>
                    <a:pt x="1981610" y="979012"/>
                    <a:pt x="1981610" y="912361"/>
                  </a:cubicBezTo>
                  <a:lnTo>
                    <a:pt x="1981610" y="94883"/>
                  </a:lnTo>
                  <a:cubicBezTo>
                    <a:pt x="1981318" y="63126"/>
                    <a:pt x="1963002" y="9622"/>
                    <a:pt x="1896310" y="9622"/>
                  </a:cubicBezTo>
                  <a:lnTo>
                    <a:pt x="94896" y="9622"/>
                  </a:lnTo>
                  <a:lnTo>
                    <a:pt x="94756" y="9622"/>
                  </a:lnTo>
                  <a:close/>
                </a:path>
              </a:pathLst>
            </a:custGeom>
            <a:solidFill>
              <a:srgbClr val="DCDDD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125" name="Image12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20292" y="288067"/>
              <a:ext cx="610099" cy="679856"/>
            </a:xfrm>
            <a:prstGeom prst="rect">
              <a:avLst/>
            </a:prstGeom>
            <a:noFill/>
          </p:spPr>
        </p:pic>
        <p:pic>
          <p:nvPicPr>
            <p:cNvPr id="126" name="Image12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73813" y="653908"/>
              <a:ext cx="308100" cy="314014"/>
            </a:xfrm>
            <a:prstGeom prst="rect">
              <a:avLst/>
            </a:prstGeom>
            <a:noFill/>
          </p:spPr>
        </p:pic>
      </p:grpSp>
      <p:sp>
        <p:nvSpPr>
          <p:cNvPr id="127" name="Text Box127"/>
          <p:cNvSpPr txBox="1"/>
          <p:nvPr/>
        </p:nvSpPr>
        <p:spPr>
          <a:xfrm>
            <a:off x="2449571" y="1234079"/>
            <a:ext cx="1397762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10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x</a:t>
            </a:r>
            <a:r>
              <a:rPr lang="en-US" altLang="zh-CN" sz="1031" spc="8447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 </a:t>
            </a:r>
            <a:r>
              <a:rPr lang="en-US" altLang="zh-CN" sz="1031" spc="-10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128" name="Text Box128"/>
          <p:cNvSpPr txBox="1"/>
          <p:nvPr/>
        </p:nvSpPr>
        <p:spPr>
          <a:xfrm>
            <a:off x="1985613" y="1537022"/>
            <a:ext cx="383012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454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1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" name="Image1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6596" y="2169167"/>
            <a:ext cx="3711265" cy="3213995"/>
          </a:xfrm>
          <a:prstGeom prst="rect">
            <a:avLst/>
          </a:prstGeom>
          <a:noFill/>
        </p:spPr>
      </p:pic>
      <p:grpSp>
        <p:nvGrpSpPr>
          <p:cNvPr id="130" name="Group130"/>
          <p:cNvGrpSpPr/>
          <p:nvPr/>
        </p:nvGrpSpPr>
        <p:grpSpPr>
          <a:xfrm>
            <a:off x="1979471" y="225775"/>
            <a:ext cx="2566151" cy="802146"/>
            <a:chOff x="355528" y="175185"/>
            <a:chExt cx="1991143" cy="622406"/>
          </a:xfrm>
        </p:grpSpPr>
        <p:pic>
          <p:nvPicPr>
            <p:cNvPr id="131" name="Image13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061" y="184807"/>
              <a:ext cx="1972077" cy="603257"/>
            </a:xfrm>
            <a:prstGeom prst="rect">
              <a:avLst/>
            </a:prstGeom>
            <a:noFill/>
          </p:spPr>
        </p:pic>
        <p:sp>
          <p:nvSpPr>
            <p:cNvPr id="132" name="Path132"/>
            <p:cNvSpPr/>
            <p:nvPr/>
          </p:nvSpPr>
          <p:spPr>
            <a:xfrm>
              <a:off x="355528" y="175185"/>
              <a:ext cx="1991143" cy="622406"/>
            </a:xfrm>
            <a:custGeom>
              <a:avLst/>
              <a:gdLst/>
              <a:ahLst/>
              <a:cxnLst/>
              <a:rect l="l" t="t" r="r" b="b"/>
              <a:pathLst>
                <a:path w="1991143" h="622406">
                  <a:moveTo>
                    <a:pt x="94756" y="9622"/>
                  </a:moveTo>
                  <a:cubicBezTo>
                    <a:pt x="63107" y="9939"/>
                    <a:pt x="9533" y="28257"/>
                    <a:pt x="9533" y="94883"/>
                  </a:cubicBezTo>
                  <a:lnTo>
                    <a:pt x="9533" y="527618"/>
                  </a:lnTo>
                  <a:cubicBezTo>
                    <a:pt x="9838" y="559375"/>
                    <a:pt x="28141" y="612879"/>
                    <a:pt x="94845" y="612879"/>
                  </a:cubicBezTo>
                  <a:lnTo>
                    <a:pt x="1896310" y="612879"/>
                  </a:lnTo>
                  <a:cubicBezTo>
                    <a:pt x="1928074" y="612574"/>
                    <a:pt x="1981610" y="594282"/>
                    <a:pt x="1981610" y="527618"/>
                  </a:cubicBezTo>
                  <a:lnTo>
                    <a:pt x="1981610" y="94883"/>
                  </a:lnTo>
                  <a:cubicBezTo>
                    <a:pt x="1981318" y="63126"/>
                    <a:pt x="1963002" y="9622"/>
                    <a:pt x="1896310" y="9622"/>
                  </a:cubicBezTo>
                  <a:lnTo>
                    <a:pt x="94896" y="9622"/>
                  </a:lnTo>
                  <a:lnTo>
                    <a:pt x="94756" y="9622"/>
                  </a:lnTo>
                  <a:close/>
                </a:path>
              </a:pathLst>
            </a:custGeom>
            <a:solidFill>
              <a:srgbClr val="DCDDD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133" name="Image13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18406" y="350261"/>
              <a:ext cx="265393" cy="170727"/>
            </a:xfrm>
            <a:prstGeom prst="rect">
              <a:avLst/>
            </a:prstGeom>
            <a:noFill/>
          </p:spPr>
        </p:pic>
      </p:grpSp>
      <p:sp>
        <p:nvSpPr>
          <p:cNvPr id="134" name="Text Box134"/>
          <p:cNvSpPr txBox="1"/>
          <p:nvPr/>
        </p:nvSpPr>
        <p:spPr>
          <a:xfrm>
            <a:off x="3091533" y="658078"/>
            <a:ext cx="168880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10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135" name="Text Box135"/>
          <p:cNvSpPr txBox="1"/>
          <p:nvPr/>
        </p:nvSpPr>
        <p:spPr>
          <a:xfrm>
            <a:off x="1985613" y="1041176"/>
            <a:ext cx="453712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267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2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6" name="Image1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0527" y="2169167"/>
            <a:ext cx="3707333" cy="3213995"/>
          </a:xfrm>
          <a:prstGeom prst="rect">
            <a:avLst/>
          </a:prstGeom>
          <a:noFill/>
        </p:spPr>
      </p:pic>
      <p:grpSp>
        <p:nvGrpSpPr>
          <p:cNvPr id="137" name="Group137"/>
          <p:cNvGrpSpPr/>
          <p:nvPr/>
        </p:nvGrpSpPr>
        <p:grpSpPr>
          <a:xfrm>
            <a:off x="1979471" y="225775"/>
            <a:ext cx="2566151" cy="802146"/>
            <a:chOff x="355528" y="175185"/>
            <a:chExt cx="1991143" cy="622406"/>
          </a:xfrm>
        </p:grpSpPr>
        <p:pic>
          <p:nvPicPr>
            <p:cNvPr id="138" name="Image13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061" y="184807"/>
              <a:ext cx="1972077" cy="603257"/>
            </a:xfrm>
            <a:prstGeom prst="rect">
              <a:avLst/>
            </a:prstGeom>
            <a:noFill/>
          </p:spPr>
        </p:pic>
        <p:sp>
          <p:nvSpPr>
            <p:cNvPr id="139" name="Path139"/>
            <p:cNvSpPr/>
            <p:nvPr/>
          </p:nvSpPr>
          <p:spPr>
            <a:xfrm>
              <a:off x="355528" y="175185"/>
              <a:ext cx="1991143" cy="622406"/>
            </a:xfrm>
            <a:custGeom>
              <a:avLst/>
              <a:gdLst/>
              <a:ahLst/>
              <a:cxnLst/>
              <a:rect l="l" t="t" r="r" b="b"/>
              <a:pathLst>
                <a:path w="1991143" h="622406">
                  <a:moveTo>
                    <a:pt x="94756" y="9622"/>
                  </a:moveTo>
                  <a:cubicBezTo>
                    <a:pt x="63107" y="9939"/>
                    <a:pt x="9533" y="28257"/>
                    <a:pt x="9533" y="94883"/>
                  </a:cubicBezTo>
                  <a:lnTo>
                    <a:pt x="9533" y="527618"/>
                  </a:lnTo>
                  <a:cubicBezTo>
                    <a:pt x="9838" y="559375"/>
                    <a:pt x="28141" y="612879"/>
                    <a:pt x="94845" y="612879"/>
                  </a:cubicBezTo>
                  <a:lnTo>
                    <a:pt x="1896310" y="612879"/>
                  </a:lnTo>
                  <a:cubicBezTo>
                    <a:pt x="1928074" y="612574"/>
                    <a:pt x="1981610" y="594282"/>
                    <a:pt x="1981610" y="527618"/>
                  </a:cubicBezTo>
                  <a:lnTo>
                    <a:pt x="1981610" y="94883"/>
                  </a:lnTo>
                  <a:cubicBezTo>
                    <a:pt x="1981318" y="63126"/>
                    <a:pt x="1963002" y="9622"/>
                    <a:pt x="1896310" y="9622"/>
                  </a:cubicBezTo>
                  <a:lnTo>
                    <a:pt x="94896" y="9622"/>
                  </a:lnTo>
                  <a:lnTo>
                    <a:pt x="94756" y="9622"/>
                  </a:lnTo>
                  <a:close/>
                </a:path>
              </a:pathLst>
            </a:custGeom>
            <a:solidFill>
              <a:srgbClr val="DCDDD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140" name="Image14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07729" y="325872"/>
              <a:ext cx="286747" cy="219505"/>
            </a:xfrm>
            <a:prstGeom prst="rect">
              <a:avLst/>
            </a:prstGeom>
            <a:noFill/>
          </p:spPr>
        </p:pic>
      </p:grpSp>
      <p:sp>
        <p:nvSpPr>
          <p:cNvPr id="141" name="Text Box141"/>
          <p:cNvSpPr txBox="1"/>
          <p:nvPr/>
        </p:nvSpPr>
        <p:spPr>
          <a:xfrm>
            <a:off x="3077772" y="689510"/>
            <a:ext cx="168880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10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142" name="Text Box142"/>
          <p:cNvSpPr txBox="1"/>
          <p:nvPr/>
        </p:nvSpPr>
        <p:spPr>
          <a:xfrm>
            <a:off x="1985613" y="1041176"/>
            <a:ext cx="450305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28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3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" name="Image14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0729" y="1809858"/>
            <a:ext cx="7300654" cy="4644184"/>
          </a:xfrm>
          <a:prstGeom prst="rect">
            <a:avLst/>
          </a:prstGeom>
          <a:noFill/>
        </p:spPr>
      </p:pic>
      <p:pic>
        <p:nvPicPr>
          <p:cNvPr id="144" name="Image14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0796" y="0"/>
            <a:ext cx="178879" cy="2085345"/>
          </a:xfrm>
          <a:prstGeom prst="rect">
            <a:avLst/>
          </a:prstGeom>
          <a:noFill/>
        </p:spPr>
      </p:pic>
      <p:pic>
        <p:nvPicPr>
          <p:cNvPr id="145" name="Image1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8984" y="1988610"/>
            <a:ext cx="736093" cy="719301"/>
          </a:xfrm>
          <a:prstGeom prst="rect">
            <a:avLst/>
          </a:prstGeom>
          <a:noFill/>
        </p:spPr>
      </p:pic>
      <p:sp>
        <p:nvSpPr>
          <p:cNvPr id="146" name="Text Box146"/>
          <p:cNvSpPr txBox="1"/>
          <p:nvPr/>
        </p:nvSpPr>
        <p:spPr>
          <a:xfrm>
            <a:off x="1985612" y="251429"/>
            <a:ext cx="443489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308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4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9A8D1-FA78-5743-8B88-076504B55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LEGO Leagu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588669-0E29-7341-8E1C-8A8163E49B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273" y="2190477"/>
            <a:ext cx="11544727" cy="4289491"/>
          </a:xfrm>
        </p:spPr>
        <p:txBody>
          <a:bodyPr/>
          <a:lstStyle/>
          <a:p>
            <a:r>
              <a:rPr lang="en-US" dirty="0"/>
              <a:t>Each year in August FIRST LEGO League Challenge teams are introduced to a scientific and real-world challenge for teams to focus and research on.</a:t>
            </a:r>
          </a:p>
          <a:p>
            <a:endParaRPr lang="en-US" dirty="0"/>
          </a:p>
          <a:p>
            <a:r>
              <a:rPr lang="en-US" dirty="0"/>
              <a:t>The robotics part of the competition involves designing and programming LEGO Mindstorms robots to complete tasks. </a:t>
            </a:r>
          </a:p>
          <a:p>
            <a:endParaRPr lang="en-US" dirty="0"/>
          </a:p>
          <a:p>
            <a:r>
              <a:rPr lang="en-US" dirty="0"/>
              <a:t>The students work out a solution to a problem related to the theme and then meet for regional, national and international tournaments to compete, share their knowledge, compare ideas, and display their robots.</a:t>
            </a:r>
          </a:p>
          <a:p>
            <a:endParaRPr lang="en-US" dirty="0"/>
          </a:p>
          <a:p>
            <a:r>
              <a:rPr lang="en-US" dirty="0"/>
              <a:t>The FIRST LEGO League Challenge is a partnership between FIRST and the LEGO Group. </a:t>
            </a:r>
          </a:p>
        </p:txBody>
      </p:sp>
      <p:pic>
        <p:nvPicPr>
          <p:cNvPr id="52226" name="Picture 2">
            <a:extLst>
              <a:ext uri="{FF2B5EF4-FFF2-40B4-BE49-F238E27FC236}">
                <a16:creationId xmlns:a16="http://schemas.microsoft.com/office/drawing/2014/main" id="{3D8DE916-5078-9B44-B77E-D6EEEF895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7103" y="-304800"/>
            <a:ext cx="5080000" cy="266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9691F07-3606-FA43-8A46-4EA5CD1EC5EF}"/>
              </a:ext>
            </a:extLst>
          </p:cNvPr>
          <p:cNvSpPr txBox="1">
            <a:spLocks/>
          </p:cNvSpPr>
          <p:nvPr/>
        </p:nvSpPr>
        <p:spPr>
          <a:xfrm>
            <a:off x="267129" y="1028700"/>
            <a:ext cx="6514672" cy="81887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The FIRST LEGO League Challenge (formerly known as FIRST LEGO League) is an international competition organized by FIRST for elementary and middle school students</a:t>
            </a:r>
          </a:p>
        </p:txBody>
      </p:sp>
    </p:spTree>
    <p:extLst>
      <p:ext uri="{BB962C8B-B14F-4D97-AF65-F5344CB8AC3E}">
        <p14:creationId xmlns:p14="http://schemas.microsoft.com/office/powerpoint/2010/main" val="38058850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7" name="Image14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0358" y="2636614"/>
            <a:ext cx="3369231" cy="2392816"/>
          </a:xfrm>
          <a:prstGeom prst="rect">
            <a:avLst/>
          </a:prstGeom>
          <a:noFill/>
        </p:spPr>
      </p:pic>
      <p:pic>
        <p:nvPicPr>
          <p:cNvPr id="148" name="Image14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1755" y="1451168"/>
            <a:ext cx="2612164" cy="1504592"/>
          </a:xfrm>
          <a:prstGeom prst="rect">
            <a:avLst/>
          </a:prstGeom>
          <a:noFill/>
        </p:spPr>
      </p:pic>
      <p:grpSp>
        <p:nvGrpSpPr>
          <p:cNvPr id="149" name="Group149"/>
          <p:cNvGrpSpPr/>
          <p:nvPr/>
        </p:nvGrpSpPr>
        <p:grpSpPr>
          <a:xfrm>
            <a:off x="1979471" y="225851"/>
            <a:ext cx="2566151" cy="993283"/>
            <a:chOff x="355528" y="175244"/>
            <a:chExt cx="1991143" cy="770714"/>
          </a:xfrm>
        </p:grpSpPr>
        <p:pic>
          <p:nvPicPr>
            <p:cNvPr id="150" name="Image15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5061" y="184806"/>
              <a:ext cx="1972077" cy="751626"/>
            </a:xfrm>
            <a:prstGeom prst="rect">
              <a:avLst/>
            </a:prstGeom>
            <a:noFill/>
          </p:spPr>
        </p:pic>
        <p:sp>
          <p:nvSpPr>
            <p:cNvPr id="151" name="Path151"/>
            <p:cNvSpPr/>
            <p:nvPr/>
          </p:nvSpPr>
          <p:spPr>
            <a:xfrm>
              <a:off x="355528" y="175244"/>
              <a:ext cx="1991143" cy="770714"/>
            </a:xfrm>
            <a:custGeom>
              <a:avLst/>
              <a:gdLst/>
              <a:ahLst/>
              <a:cxnLst/>
              <a:rect l="l" t="t" r="r" b="b"/>
              <a:pathLst>
                <a:path w="1991143" h="770714">
                  <a:moveTo>
                    <a:pt x="94845" y="9562"/>
                  </a:moveTo>
                  <a:cubicBezTo>
                    <a:pt x="91362" y="9575"/>
                    <a:pt x="9533" y="10718"/>
                    <a:pt x="9533" y="94823"/>
                  </a:cubicBezTo>
                  <a:lnTo>
                    <a:pt x="9533" y="675926"/>
                  </a:lnTo>
                  <a:cubicBezTo>
                    <a:pt x="9545" y="679407"/>
                    <a:pt x="10689" y="761188"/>
                    <a:pt x="94845" y="761188"/>
                  </a:cubicBezTo>
                  <a:lnTo>
                    <a:pt x="1896310" y="761188"/>
                  </a:lnTo>
                  <a:cubicBezTo>
                    <a:pt x="1899780" y="761175"/>
                    <a:pt x="1981610" y="760032"/>
                    <a:pt x="1981610" y="675926"/>
                  </a:cubicBezTo>
                  <a:lnTo>
                    <a:pt x="1981610" y="94823"/>
                  </a:lnTo>
                  <a:cubicBezTo>
                    <a:pt x="1981610" y="91343"/>
                    <a:pt x="1980453" y="9562"/>
                    <a:pt x="1896310" y="9562"/>
                  </a:cubicBezTo>
                  <a:lnTo>
                    <a:pt x="94845" y="9562"/>
                  </a:lnTo>
                  <a:lnTo>
                    <a:pt x="94845" y="9562"/>
                  </a:lnTo>
                  <a:close/>
                </a:path>
              </a:pathLst>
            </a:custGeom>
            <a:solidFill>
              <a:srgbClr val="FFFFF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152" name="Image15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28247" y="301480"/>
              <a:ext cx="1045710" cy="518277"/>
            </a:xfrm>
            <a:prstGeom prst="rect">
              <a:avLst/>
            </a:prstGeom>
            <a:noFill/>
          </p:spPr>
        </p:pic>
      </p:grpSp>
      <p:sp>
        <p:nvSpPr>
          <p:cNvPr id="153" name="Text Box153"/>
          <p:cNvSpPr txBox="1"/>
          <p:nvPr/>
        </p:nvSpPr>
        <p:spPr>
          <a:xfrm>
            <a:off x="5105955" y="4460016"/>
            <a:ext cx="219324" cy="197939"/>
          </a:xfrm>
          <a:prstGeom prst="rect">
            <a:avLst/>
          </a:prstGeom>
          <a:ln w="7624">
            <a:solidFill>
              <a:srgbClr val="231F20"/>
            </a:solidFill>
          </a:ln>
        </p:spPr>
        <p:txBody>
          <a:bodyPr wrap="square" lIns="0" tIns="0" rIns="0" rtlCol="0">
            <a:spAutoFit/>
          </a:bodyPr>
          <a:lstStyle/>
          <a:p>
            <a:pPr marL="51801">
              <a:lnSpc>
                <a:spcPts val="1250"/>
              </a:lnSpc>
              <a:spcBef>
                <a:spcPts val="260"/>
              </a:spcBef>
            </a:pPr>
            <a:r>
              <a:rPr lang="en-US" altLang="zh-CN" sz="1031" spc="-117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5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154" name="Text Box154"/>
          <p:cNvSpPr txBox="1"/>
          <p:nvPr/>
        </p:nvSpPr>
        <p:spPr>
          <a:xfrm>
            <a:off x="4261274" y="1597892"/>
            <a:ext cx="219324" cy="197939"/>
          </a:xfrm>
          <a:prstGeom prst="rect">
            <a:avLst/>
          </a:prstGeom>
          <a:ln w="7624">
            <a:solidFill>
              <a:srgbClr val="231F20"/>
            </a:solidFill>
          </a:ln>
        </p:spPr>
        <p:txBody>
          <a:bodyPr wrap="square" lIns="0" tIns="0" rIns="0" rtlCol="0">
            <a:spAutoFit/>
          </a:bodyPr>
          <a:lstStyle/>
          <a:p>
            <a:pPr marL="51802">
              <a:lnSpc>
                <a:spcPts val="1250"/>
              </a:lnSpc>
              <a:spcBef>
                <a:spcPts val="260"/>
              </a:spcBef>
            </a:pPr>
            <a:r>
              <a:rPr lang="en-US" altLang="zh-CN" sz="1031" spc="-117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5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155" name="Text Box155"/>
          <p:cNvSpPr txBox="1"/>
          <p:nvPr/>
        </p:nvSpPr>
        <p:spPr>
          <a:xfrm>
            <a:off x="2124915" y="2667998"/>
            <a:ext cx="2013288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340"/>
              </a:lnSpc>
            </a:pPr>
            <a:r>
              <a:rPr lang="en-US" altLang="zh-CN" sz="1031" spc="-10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x</a:t>
            </a:r>
            <a:r>
              <a:rPr lang="en-US" altLang="zh-CN" sz="1031" spc="13294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 </a:t>
            </a:r>
            <a:r>
              <a:rPr lang="en-US" altLang="zh-CN" sz="1031" spc="-10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156" name="Text Box156"/>
          <p:cNvSpPr txBox="1"/>
          <p:nvPr/>
        </p:nvSpPr>
        <p:spPr>
          <a:xfrm>
            <a:off x="1985613" y="2981293"/>
            <a:ext cx="447962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290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5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" name="Image15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8558" y="1485012"/>
            <a:ext cx="7579787" cy="5080314"/>
          </a:xfrm>
          <a:prstGeom prst="rect">
            <a:avLst/>
          </a:prstGeom>
          <a:noFill/>
        </p:spPr>
      </p:pic>
      <p:pic>
        <p:nvPicPr>
          <p:cNvPr id="158" name="Image15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2687" y="5811"/>
            <a:ext cx="178878" cy="3111570"/>
          </a:xfrm>
          <a:prstGeom prst="rect">
            <a:avLst/>
          </a:prstGeom>
          <a:noFill/>
        </p:spPr>
      </p:pic>
      <p:sp>
        <p:nvSpPr>
          <p:cNvPr id="159" name="Text Box159"/>
          <p:cNvSpPr txBox="1"/>
          <p:nvPr/>
        </p:nvSpPr>
        <p:spPr>
          <a:xfrm>
            <a:off x="1985612" y="251429"/>
            <a:ext cx="454137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265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6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" name="Image16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395" y="1902669"/>
            <a:ext cx="7115878" cy="4156978"/>
          </a:xfrm>
          <a:prstGeom prst="rect">
            <a:avLst/>
          </a:prstGeom>
          <a:noFill/>
        </p:spPr>
      </p:pic>
      <p:grpSp>
        <p:nvGrpSpPr>
          <p:cNvPr id="161" name="Group161"/>
          <p:cNvGrpSpPr/>
          <p:nvPr/>
        </p:nvGrpSpPr>
        <p:grpSpPr>
          <a:xfrm>
            <a:off x="1979471" y="225775"/>
            <a:ext cx="2566151" cy="802146"/>
            <a:chOff x="355528" y="175185"/>
            <a:chExt cx="1991143" cy="622406"/>
          </a:xfrm>
        </p:grpSpPr>
        <p:pic>
          <p:nvPicPr>
            <p:cNvPr id="162" name="Image16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061" y="184807"/>
              <a:ext cx="1972077" cy="603257"/>
            </a:xfrm>
            <a:prstGeom prst="rect">
              <a:avLst/>
            </a:prstGeom>
            <a:noFill/>
          </p:spPr>
        </p:pic>
        <p:sp>
          <p:nvSpPr>
            <p:cNvPr id="163" name="Path163"/>
            <p:cNvSpPr/>
            <p:nvPr/>
          </p:nvSpPr>
          <p:spPr>
            <a:xfrm>
              <a:off x="355528" y="175185"/>
              <a:ext cx="1991143" cy="622406"/>
            </a:xfrm>
            <a:custGeom>
              <a:avLst/>
              <a:gdLst/>
              <a:ahLst/>
              <a:cxnLst/>
              <a:rect l="l" t="t" r="r" b="b"/>
              <a:pathLst>
                <a:path w="1991143" h="622406">
                  <a:moveTo>
                    <a:pt x="94756" y="9622"/>
                  </a:moveTo>
                  <a:cubicBezTo>
                    <a:pt x="63107" y="9939"/>
                    <a:pt x="9533" y="28257"/>
                    <a:pt x="9533" y="94883"/>
                  </a:cubicBezTo>
                  <a:lnTo>
                    <a:pt x="9533" y="527618"/>
                  </a:lnTo>
                  <a:cubicBezTo>
                    <a:pt x="9838" y="559375"/>
                    <a:pt x="28141" y="612879"/>
                    <a:pt x="94845" y="612879"/>
                  </a:cubicBezTo>
                  <a:lnTo>
                    <a:pt x="1896310" y="612879"/>
                  </a:lnTo>
                  <a:cubicBezTo>
                    <a:pt x="1928074" y="612574"/>
                    <a:pt x="1981610" y="594282"/>
                    <a:pt x="1981610" y="527618"/>
                  </a:cubicBezTo>
                  <a:lnTo>
                    <a:pt x="1981610" y="94883"/>
                  </a:lnTo>
                  <a:cubicBezTo>
                    <a:pt x="1981318" y="63126"/>
                    <a:pt x="1963002" y="9622"/>
                    <a:pt x="1896310" y="9622"/>
                  </a:cubicBezTo>
                  <a:lnTo>
                    <a:pt x="94896" y="9622"/>
                  </a:lnTo>
                  <a:lnTo>
                    <a:pt x="94756" y="9622"/>
                  </a:lnTo>
                  <a:close/>
                </a:path>
              </a:pathLst>
            </a:custGeom>
            <a:solidFill>
              <a:srgbClr val="DCDDD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164" name="Image16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07729" y="325872"/>
              <a:ext cx="286747" cy="219505"/>
            </a:xfrm>
            <a:prstGeom prst="rect">
              <a:avLst/>
            </a:prstGeom>
            <a:noFill/>
          </p:spPr>
        </p:pic>
      </p:grpSp>
      <p:sp>
        <p:nvSpPr>
          <p:cNvPr id="165" name="Text Box165"/>
          <p:cNvSpPr txBox="1"/>
          <p:nvPr/>
        </p:nvSpPr>
        <p:spPr>
          <a:xfrm>
            <a:off x="3077772" y="689513"/>
            <a:ext cx="168880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10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166" name="Text Box166"/>
          <p:cNvSpPr txBox="1"/>
          <p:nvPr/>
        </p:nvSpPr>
        <p:spPr>
          <a:xfrm>
            <a:off x="1985613" y="1041176"/>
            <a:ext cx="427732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370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7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7" name="Image16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5069" y="1902671"/>
            <a:ext cx="6294210" cy="3642266"/>
          </a:xfrm>
          <a:prstGeom prst="rect">
            <a:avLst/>
          </a:prstGeom>
          <a:noFill/>
        </p:spPr>
      </p:pic>
      <p:sp>
        <p:nvSpPr>
          <p:cNvPr id="168" name="Text Box168"/>
          <p:cNvSpPr txBox="1"/>
          <p:nvPr/>
        </p:nvSpPr>
        <p:spPr>
          <a:xfrm>
            <a:off x="1985612" y="251429"/>
            <a:ext cx="450730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278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8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" name="Image16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5069" y="1902671"/>
            <a:ext cx="5680908" cy="3642266"/>
          </a:xfrm>
          <a:prstGeom prst="rect">
            <a:avLst/>
          </a:prstGeom>
          <a:noFill/>
        </p:spPr>
      </p:pic>
      <p:sp>
        <p:nvSpPr>
          <p:cNvPr id="170" name="Text Box170"/>
          <p:cNvSpPr txBox="1"/>
          <p:nvPr/>
        </p:nvSpPr>
        <p:spPr>
          <a:xfrm>
            <a:off x="1985611" y="251429"/>
            <a:ext cx="453286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269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9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" name="Image17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8627" y="2783681"/>
            <a:ext cx="3479310" cy="1764162"/>
          </a:xfrm>
          <a:prstGeom prst="rect">
            <a:avLst/>
          </a:prstGeom>
          <a:noFill/>
        </p:spPr>
      </p:pic>
      <p:pic>
        <p:nvPicPr>
          <p:cNvPr id="172" name="Image17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1755" y="1454311"/>
            <a:ext cx="2612164" cy="1453155"/>
          </a:xfrm>
          <a:prstGeom prst="rect">
            <a:avLst/>
          </a:prstGeom>
          <a:noFill/>
        </p:spPr>
      </p:pic>
      <p:grpSp>
        <p:nvGrpSpPr>
          <p:cNvPr id="173" name="Group173"/>
          <p:cNvGrpSpPr/>
          <p:nvPr/>
        </p:nvGrpSpPr>
        <p:grpSpPr>
          <a:xfrm>
            <a:off x="1979471" y="225853"/>
            <a:ext cx="2566151" cy="996428"/>
            <a:chOff x="355528" y="175245"/>
            <a:chExt cx="1991143" cy="773154"/>
          </a:xfrm>
        </p:grpSpPr>
        <p:pic>
          <p:nvPicPr>
            <p:cNvPr id="174" name="Image17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5061" y="184807"/>
              <a:ext cx="1972077" cy="754065"/>
            </a:xfrm>
            <a:prstGeom prst="rect">
              <a:avLst/>
            </a:prstGeom>
            <a:noFill/>
          </p:spPr>
        </p:pic>
        <p:sp>
          <p:nvSpPr>
            <p:cNvPr id="175" name="Path175"/>
            <p:cNvSpPr/>
            <p:nvPr/>
          </p:nvSpPr>
          <p:spPr>
            <a:xfrm>
              <a:off x="355528" y="175245"/>
              <a:ext cx="1991143" cy="773154"/>
            </a:xfrm>
            <a:custGeom>
              <a:avLst/>
              <a:gdLst/>
              <a:ahLst/>
              <a:cxnLst/>
              <a:rect l="l" t="t" r="r" b="b"/>
              <a:pathLst>
                <a:path w="1991143" h="773154">
                  <a:moveTo>
                    <a:pt x="94845" y="9562"/>
                  </a:moveTo>
                  <a:cubicBezTo>
                    <a:pt x="91362" y="9575"/>
                    <a:pt x="9533" y="10718"/>
                    <a:pt x="9533" y="94823"/>
                  </a:cubicBezTo>
                  <a:lnTo>
                    <a:pt x="9533" y="678365"/>
                  </a:lnTo>
                  <a:cubicBezTo>
                    <a:pt x="9545" y="681846"/>
                    <a:pt x="10689" y="763627"/>
                    <a:pt x="94845" y="763627"/>
                  </a:cubicBezTo>
                  <a:lnTo>
                    <a:pt x="1896310" y="763627"/>
                  </a:lnTo>
                  <a:cubicBezTo>
                    <a:pt x="1899780" y="763614"/>
                    <a:pt x="1981610" y="762471"/>
                    <a:pt x="1981610" y="678365"/>
                  </a:cubicBezTo>
                  <a:lnTo>
                    <a:pt x="1981610" y="94823"/>
                  </a:lnTo>
                  <a:cubicBezTo>
                    <a:pt x="1981610" y="91343"/>
                    <a:pt x="1980453" y="9562"/>
                    <a:pt x="1896310" y="9562"/>
                  </a:cubicBezTo>
                  <a:lnTo>
                    <a:pt x="94845" y="9562"/>
                  </a:lnTo>
                  <a:lnTo>
                    <a:pt x="94845" y="9562"/>
                  </a:lnTo>
                  <a:close/>
                </a:path>
              </a:pathLst>
            </a:custGeom>
            <a:solidFill>
              <a:srgbClr val="FFFFF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176" name="Image17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1165" y="288067"/>
              <a:ext cx="1079875" cy="547543"/>
            </a:xfrm>
            <a:prstGeom prst="rect">
              <a:avLst/>
            </a:prstGeom>
            <a:noFill/>
          </p:spPr>
        </p:pic>
      </p:grpSp>
      <p:sp>
        <p:nvSpPr>
          <p:cNvPr id="177" name="Text Box177"/>
          <p:cNvSpPr txBox="1"/>
          <p:nvPr/>
        </p:nvSpPr>
        <p:spPr>
          <a:xfrm>
            <a:off x="5814215" y="3967080"/>
            <a:ext cx="219325" cy="197939"/>
          </a:xfrm>
          <a:prstGeom prst="rect">
            <a:avLst/>
          </a:prstGeom>
          <a:ln w="7624">
            <a:solidFill>
              <a:srgbClr val="231F20"/>
            </a:solidFill>
          </a:ln>
        </p:spPr>
        <p:txBody>
          <a:bodyPr wrap="square" lIns="0" tIns="0" rIns="0" rtlCol="0">
            <a:spAutoFit/>
          </a:bodyPr>
          <a:lstStyle/>
          <a:p>
            <a:pPr marL="51810">
              <a:lnSpc>
                <a:spcPts val="1250"/>
              </a:lnSpc>
              <a:spcBef>
                <a:spcPts val="260"/>
              </a:spcBef>
            </a:pPr>
            <a:r>
              <a:rPr lang="en-US" altLang="zh-CN" sz="1031" spc="-117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5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178" name="Text Box178"/>
          <p:cNvSpPr txBox="1"/>
          <p:nvPr/>
        </p:nvSpPr>
        <p:spPr>
          <a:xfrm>
            <a:off x="4261274" y="1559273"/>
            <a:ext cx="219324" cy="197939"/>
          </a:xfrm>
          <a:prstGeom prst="rect">
            <a:avLst/>
          </a:prstGeom>
          <a:ln w="7624">
            <a:solidFill>
              <a:srgbClr val="231F20"/>
            </a:solidFill>
          </a:ln>
        </p:spPr>
        <p:txBody>
          <a:bodyPr wrap="square" lIns="0" tIns="0" rIns="0" rtlCol="0">
            <a:spAutoFit/>
          </a:bodyPr>
          <a:lstStyle/>
          <a:p>
            <a:pPr marL="51802">
              <a:lnSpc>
                <a:spcPts val="1250"/>
              </a:lnSpc>
              <a:spcBef>
                <a:spcPts val="260"/>
              </a:spcBef>
            </a:pPr>
            <a:r>
              <a:rPr lang="en-US" altLang="zh-CN" sz="1031" spc="-117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5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179" name="Text Box179"/>
          <p:cNvSpPr txBox="1"/>
          <p:nvPr/>
        </p:nvSpPr>
        <p:spPr>
          <a:xfrm>
            <a:off x="2124916" y="2630064"/>
            <a:ext cx="2002375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335"/>
              </a:lnSpc>
            </a:pPr>
            <a:r>
              <a:rPr lang="en-US" altLang="zh-CN" sz="1031" spc="-10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x</a:t>
            </a:r>
            <a:r>
              <a:rPr lang="en-US" altLang="zh-CN" sz="1031" spc="13208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 </a:t>
            </a:r>
            <a:r>
              <a:rPr lang="en-US" altLang="zh-CN" sz="1031" spc="-10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180" name="Text Box180"/>
          <p:cNvSpPr txBox="1"/>
          <p:nvPr/>
        </p:nvSpPr>
        <p:spPr>
          <a:xfrm>
            <a:off x="1985613" y="2933006"/>
            <a:ext cx="534634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52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0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" name="Image18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0030" y="1252979"/>
            <a:ext cx="6412155" cy="5292485"/>
          </a:xfrm>
          <a:prstGeom prst="rect">
            <a:avLst/>
          </a:prstGeom>
          <a:noFill/>
        </p:spPr>
      </p:pic>
      <p:pic>
        <p:nvPicPr>
          <p:cNvPr id="182" name="Image18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43379" y="0"/>
            <a:ext cx="178879" cy="2911942"/>
          </a:xfrm>
          <a:prstGeom prst="rect">
            <a:avLst/>
          </a:prstGeom>
          <a:noFill/>
        </p:spPr>
      </p:pic>
      <p:pic>
        <p:nvPicPr>
          <p:cNvPr id="183" name="Image18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62864" y="1426305"/>
            <a:ext cx="736092" cy="719301"/>
          </a:xfrm>
          <a:prstGeom prst="rect">
            <a:avLst/>
          </a:prstGeom>
          <a:noFill/>
        </p:spPr>
      </p:pic>
      <p:sp>
        <p:nvSpPr>
          <p:cNvPr id="184" name="Text Box184"/>
          <p:cNvSpPr txBox="1"/>
          <p:nvPr/>
        </p:nvSpPr>
        <p:spPr>
          <a:xfrm>
            <a:off x="1985612" y="251429"/>
            <a:ext cx="460099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242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1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5" name="Image18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6800" y="1856264"/>
            <a:ext cx="7906095" cy="3815146"/>
          </a:xfrm>
          <a:prstGeom prst="rect">
            <a:avLst/>
          </a:prstGeom>
          <a:noFill/>
        </p:spPr>
      </p:pic>
      <p:grpSp>
        <p:nvGrpSpPr>
          <p:cNvPr id="186" name="Group186"/>
          <p:cNvGrpSpPr/>
          <p:nvPr/>
        </p:nvGrpSpPr>
        <p:grpSpPr>
          <a:xfrm>
            <a:off x="1979471" y="225775"/>
            <a:ext cx="2566151" cy="802146"/>
            <a:chOff x="355528" y="175185"/>
            <a:chExt cx="1991143" cy="622406"/>
          </a:xfrm>
        </p:grpSpPr>
        <p:pic>
          <p:nvPicPr>
            <p:cNvPr id="187" name="Image18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061" y="184807"/>
              <a:ext cx="1972077" cy="603257"/>
            </a:xfrm>
            <a:prstGeom prst="rect">
              <a:avLst/>
            </a:prstGeom>
            <a:noFill/>
          </p:spPr>
        </p:pic>
        <p:sp>
          <p:nvSpPr>
            <p:cNvPr id="188" name="Path188"/>
            <p:cNvSpPr/>
            <p:nvPr/>
          </p:nvSpPr>
          <p:spPr>
            <a:xfrm>
              <a:off x="355528" y="175185"/>
              <a:ext cx="1991143" cy="622406"/>
            </a:xfrm>
            <a:custGeom>
              <a:avLst/>
              <a:gdLst/>
              <a:ahLst/>
              <a:cxnLst/>
              <a:rect l="l" t="t" r="r" b="b"/>
              <a:pathLst>
                <a:path w="1991143" h="622406">
                  <a:moveTo>
                    <a:pt x="94756" y="9622"/>
                  </a:moveTo>
                  <a:cubicBezTo>
                    <a:pt x="63107" y="9939"/>
                    <a:pt x="9533" y="28257"/>
                    <a:pt x="9533" y="94883"/>
                  </a:cubicBezTo>
                  <a:lnTo>
                    <a:pt x="9533" y="527618"/>
                  </a:lnTo>
                  <a:cubicBezTo>
                    <a:pt x="9838" y="559375"/>
                    <a:pt x="28141" y="612879"/>
                    <a:pt x="94845" y="612879"/>
                  </a:cubicBezTo>
                  <a:lnTo>
                    <a:pt x="1896310" y="612879"/>
                  </a:lnTo>
                  <a:cubicBezTo>
                    <a:pt x="1928074" y="612574"/>
                    <a:pt x="1981610" y="594282"/>
                    <a:pt x="1981610" y="527618"/>
                  </a:cubicBezTo>
                  <a:lnTo>
                    <a:pt x="1981610" y="94883"/>
                  </a:lnTo>
                  <a:cubicBezTo>
                    <a:pt x="1981318" y="63126"/>
                    <a:pt x="1963002" y="9622"/>
                    <a:pt x="1896310" y="9622"/>
                  </a:cubicBezTo>
                  <a:lnTo>
                    <a:pt x="94896" y="9622"/>
                  </a:lnTo>
                  <a:lnTo>
                    <a:pt x="94756" y="9622"/>
                  </a:lnTo>
                  <a:close/>
                </a:path>
              </a:pathLst>
            </a:custGeom>
            <a:solidFill>
              <a:srgbClr val="DCDDD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189" name="Image18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07729" y="325872"/>
              <a:ext cx="286747" cy="219505"/>
            </a:xfrm>
            <a:prstGeom prst="rect">
              <a:avLst/>
            </a:prstGeom>
            <a:noFill/>
          </p:spPr>
        </p:pic>
      </p:grpSp>
      <p:sp>
        <p:nvSpPr>
          <p:cNvPr id="190" name="Text Box190"/>
          <p:cNvSpPr txBox="1"/>
          <p:nvPr/>
        </p:nvSpPr>
        <p:spPr>
          <a:xfrm>
            <a:off x="3077772" y="689510"/>
            <a:ext cx="168880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10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191" name="Text Box191"/>
          <p:cNvSpPr txBox="1"/>
          <p:nvPr/>
        </p:nvSpPr>
        <p:spPr>
          <a:xfrm>
            <a:off x="1985613" y="1041176"/>
            <a:ext cx="528031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26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2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" name="Image19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0030" y="1392197"/>
            <a:ext cx="5507928" cy="3815148"/>
          </a:xfrm>
          <a:prstGeom prst="rect">
            <a:avLst/>
          </a:prstGeom>
          <a:noFill/>
        </p:spPr>
      </p:pic>
      <p:sp>
        <p:nvSpPr>
          <p:cNvPr id="193" name="Text Box193"/>
          <p:cNvSpPr txBox="1"/>
          <p:nvPr/>
        </p:nvSpPr>
        <p:spPr>
          <a:xfrm>
            <a:off x="1985612" y="251429"/>
            <a:ext cx="523346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6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3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" name="Image19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0030" y="1392199"/>
            <a:ext cx="5507928" cy="3815146"/>
          </a:xfrm>
          <a:prstGeom prst="rect">
            <a:avLst/>
          </a:prstGeom>
          <a:noFill/>
        </p:spPr>
      </p:pic>
      <p:sp>
        <p:nvSpPr>
          <p:cNvPr id="195" name="Text Box195"/>
          <p:cNvSpPr txBox="1"/>
          <p:nvPr/>
        </p:nvSpPr>
        <p:spPr>
          <a:xfrm>
            <a:off x="1985612" y="251429"/>
            <a:ext cx="519301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9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4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29EBB2-754D-8546-8969-7D19CB940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299" y="307184"/>
            <a:ext cx="10947772" cy="450012"/>
          </a:xfrm>
        </p:spPr>
        <p:txBody>
          <a:bodyPr/>
          <a:lstStyle/>
          <a:p>
            <a:r>
              <a:rPr lang="en-US" dirty="0"/>
              <a:t>Robot Game 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90EA44-76E7-534E-88A1-F955F888D7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0895" y="1422538"/>
            <a:ext cx="5486400" cy="210312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+mn-lt"/>
              </a:rPr>
              <a:t>Plan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Work together to design and build a LEGO robot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Program it to autonomously complete a series of mission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Score points in a 2.5-minute robot game.</a:t>
            </a:r>
          </a:p>
        </p:txBody>
      </p:sp>
      <p:pic>
        <p:nvPicPr>
          <p:cNvPr id="53250" name="Picture 2" descr="FLLCasts | FIRST LEGO League">
            <a:extLst>
              <a:ext uri="{FF2B5EF4-FFF2-40B4-BE49-F238E27FC236}">
                <a16:creationId xmlns:a16="http://schemas.microsoft.com/office/drawing/2014/main" id="{B8CB184A-DD8E-E848-AAB3-4501AD95B7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946" y="4191000"/>
            <a:ext cx="3793067" cy="213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19205CE-EF4B-6444-BB0E-6617DE18F937}"/>
              </a:ext>
            </a:extLst>
          </p:cNvPr>
          <p:cNvSpPr/>
          <p:nvPr/>
        </p:nvSpPr>
        <p:spPr>
          <a:xfrm>
            <a:off x="533400" y="4293275"/>
            <a:ext cx="7010400" cy="2257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accent3">
                    <a:lumMod val="90000"/>
                    <a:lumOff val="10000"/>
                  </a:schemeClr>
                </a:solidFill>
              </a:rPr>
              <a:t>The robot is programmed to return to home at anytime so the team can modify it before launching again to try other missions.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accent3">
                    <a:lumMod val="90000"/>
                    <a:lumOff val="10000"/>
                  </a:schemeClr>
                </a:solidFill>
              </a:rPr>
              <a:t>If needed, the robot can be brought back to home by hand, but the team will lose a precision token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accent3">
                    <a:lumMod val="90000"/>
                    <a:lumOff val="10000"/>
                  </a:schemeClr>
                </a:solidFill>
              </a:rPr>
              <a:t>The team will have three robot game matches, but only their highest score will count.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AF8CB00-F4C2-8143-89F6-3867408E0998}"/>
              </a:ext>
            </a:extLst>
          </p:cNvPr>
          <p:cNvSpPr/>
          <p:nvPr/>
        </p:nvSpPr>
        <p:spPr>
          <a:xfrm>
            <a:off x="6519283" y="1422538"/>
            <a:ext cx="5486400" cy="210312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Do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Decide mission strategy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Launches robot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Robot moves around the field attempting to complete the missions. </a:t>
            </a:r>
          </a:p>
        </p:txBody>
      </p:sp>
    </p:spTree>
    <p:extLst>
      <p:ext uri="{BB962C8B-B14F-4D97-AF65-F5344CB8AC3E}">
        <p14:creationId xmlns:p14="http://schemas.microsoft.com/office/powerpoint/2010/main" val="7174592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6" name="Image19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9655" y="1865577"/>
            <a:ext cx="5291698" cy="4074465"/>
          </a:xfrm>
          <a:prstGeom prst="rect">
            <a:avLst/>
          </a:prstGeom>
          <a:noFill/>
        </p:spPr>
      </p:pic>
      <p:pic>
        <p:nvPicPr>
          <p:cNvPr id="197" name="Image19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7305" y="240222"/>
            <a:ext cx="736090" cy="719302"/>
          </a:xfrm>
          <a:prstGeom prst="rect">
            <a:avLst/>
          </a:prstGeom>
          <a:noFill/>
        </p:spPr>
      </p:pic>
      <p:grpSp>
        <p:nvGrpSpPr>
          <p:cNvPr id="198" name="Group198"/>
          <p:cNvGrpSpPr/>
          <p:nvPr/>
        </p:nvGrpSpPr>
        <p:grpSpPr>
          <a:xfrm>
            <a:off x="1979471" y="225776"/>
            <a:ext cx="2566151" cy="1433402"/>
            <a:chOff x="355528" y="175185"/>
            <a:chExt cx="1991143" cy="1112214"/>
          </a:xfrm>
        </p:grpSpPr>
        <p:pic>
          <p:nvPicPr>
            <p:cNvPr id="199" name="Image19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5061" y="184807"/>
              <a:ext cx="1972077" cy="1093066"/>
            </a:xfrm>
            <a:prstGeom prst="rect">
              <a:avLst/>
            </a:prstGeom>
            <a:noFill/>
          </p:spPr>
        </p:pic>
        <p:sp>
          <p:nvSpPr>
            <p:cNvPr id="200" name="Path200"/>
            <p:cNvSpPr/>
            <p:nvPr/>
          </p:nvSpPr>
          <p:spPr>
            <a:xfrm>
              <a:off x="355528" y="175185"/>
              <a:ext cx="1991143" cy="1112214"/>
            </a:xfrm>
            <a:custGeom>
              <a:avLst/>
              <a:gdLst/>
              <a:ahLst/>
              <a:cxnLst/>
              <a:rect l="l" t="t" r="r" b="b"/>
              <a:pathLst>
                <a:path w="1991143" h="1112214">
                  <a:moveTo>
                    <a:pt x="94756" y="9622"/>
                  </a:moveTo>
                  <a:cubicBezTo>
                    <a:pt x="63107" y="9939"/>
                    <a:pt x="9533" y="28257"/>
                    <a:pt x="9533" y="94883"/>
                  </a:cubicBezTo>
                  <a:lnTo>
                    <a:pt x="9533" y="1017426"/>
                  </a:lnTo>
                  <a:cubicBezTo>
                    <a:pt x="9838" y="1049183"/>
                    <a:pt x="28141" y="1102687"/>
                    <a:pt x="94845" y="1102687"/>
                  </a:cubicBezTo>
                  <a:lnTo>
                    <a:pt x="1896310" y="1102687"/>
                  </a:lnTo>
                  <a:cubicBezTo>
                    <a:pt x="1928074" y="1102382"/>
                    <a:pt x="1981610" y="1084090"/>
                    <a:pt x="1981610" y="1017426"/>
                  </a:cubicBezTo>
                  <a:lnTo>
                    <a:pt x="1981610" y="94883"/>
                  </a:lnTo>
                  <a:cubicBezTo>
                    <a:pt x="1981318" y="63126"/>
                    <a:pt x="1963002" y="9622"/>
                    <a:pt x="1896310" y="9622"/>
                  </a:cubicBezTo>
                  <a:lnTo>
                    <a:pt x="94896" y="9622"/>
                  </a:lnTo>
                  <a:lnTo>
                    <a:pt x="94756" y="9622"/>
                  </a:lnTo>
                  <a:close/>
                </a:path>
              </a:pathLst>
            </a:custGeom>
            <a:solidFill>
              <a:srgbClr val="DCDDD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201" name="Image20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52097" y="252058"/>
              <a:ext cx="798010" cy="850583"/>
            </a:xfrm>
            <a:prstGeom prst="rect">
              <a:avLst/>
            </a:prstGeom>
            <a:noFill/>
          </p:spPr>
        </p:pic>
      </p:grpSp>
      <p:sp>
        <p:nvSpPr>
          <p:cNvPr id="202" name="Text Box202"/>
          <p:cNvSpPr txBox="1"/>
          <p:nvPr/>
        </p:nvSpPr>
        <p:spPr>
          <a:xfrm>
            <a:off x="2748319" y="1407704"/>
            <a:ext cx="192993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6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203" name="Text Box203"/>
          <p:cNvSpPr txBox="1"/>
          <p:nvPr/>
        </p:nvSpPr>
        <p:spPr>
          <a:xfrm>
            <a:off x="1985613" y="1672436"/>
            <a:ext cx="521430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5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" name="Image2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2842" y="1911982"/>
            <a:ext cx="5291698" cy="4101971"/>
          </a:xfrm>
          <a:prstGeom prst="rect">
            <a:avLst/>
          </a:prstGeom>
          <a:noFill/>
        </p:spPr>
      </p:pic>
      <p:grpSp>
        <p:nvGrpSpPr>
          <p:cNvPr id="205" name="Group205"/>
          <p:cNvGrpSpPr/>
          <p:nvPr/>
        </p:nvGrpSpPr>
        <p:grpSpPr>
          <a:xfrm>
            <a:off x="1979471" y="225775"/>
            <a:ext cx="2566151" cy="802146"/>
            <a:chOff x="355528" y="175185"/>
            <a:chExt cx="1991143" cy="622406"/>
          </a:xfrm>
        </p:grpSpPr>
        <p:pic>
          <p:nvPicPr>
            <p:cNvPr id="206" name="Image20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061" y="184807"/>
              <a:ext cx="1972077" cy="603257"/>
            </a:xfrm>
            <a:prstGeom prst="rect">
              <a:avLst/>
            </a:prstGeom>
            <a:noFill/>
          </p:spPr>
        </p:pic>
        <p:sp>
          <p:nvSpPr>
            <p:cNvPr id="207" name="Path207"/>
            <p:cNvSpPr/>
            <p:nvPr/>
          </p:nvSpPr>
          <p:spPr>
            <a:xfrm>
              <a:off x="355528" y="175185"/>
              <a:ext cx="1991143" cy="622406"/>
            </a:xfrm>
            <a:custGeom>
              <a:avLst/>
              <a:gdLst/>
              <a:ahLst/>
              <a:cxnLst/>
              <a:rect l="l" t="t" r="r" b="b"/>
              <a:pathLst>
                <a:path w="1991143" h="622406">
                  <a:moveTo>
                    <a:pt x="94756" y="9622"/>
                  </a:moveTo>
                  <a:cubicBezTo>
                    <a:pt x="63107" y="9939"/>
                    <a:pt x="9533" y="28257"/>
                    <a:pt x="9533" y="94883"/>
                  </a:cubicBezTo>
                  <a:lnTo>
                    <a:pt x="9533" y="527618"/>
                  </a:lnTo>
                  <a:cubicBezTo>
                    <a:pt x="9838" y="559375"/>
                    <a:pt x="28141" y="612879"/>
                    <a:pt x="94845" y="612879"/>
                  </a:cubicBezTo>
                  <a:lnTo>
                    <a:pt x="1896310" y="612879"/>
                  </a:lnTo>
                  <a:cubicBezTo>
                    <a:pt x="1928074" y="612574"/>
                    <a:pt x="1981610" y="594282"/>
                    <a:pt x="1981610" y="527618"/>
                  </a:cubicBezTo>
                  <a:lnTo>
                    <a:pt x="1981610" y="94883"/>
                  </a:lnTo>
                  <a:cubicBezTo>
                    <a:pt x="1981318" y="63126"/>
                    <a:pt x="1963002" y="9622"/>
                    <a:pt x="1896310" y="9622"/>
                  </a:cubicBezTo>
                  <a:lnTo>
                    <a:pt x="94896" y="9622"/>
                  </a:lnTo>
                  <a:lnTo>
                    <a:pt x="94756" y="9622"/>
                  </a:lnTo>
                  <a:close/>
                </a:path>
              </a:pathLst>
            </a:custGeom>
            <a:solidFill>
              <a:srgbClr val="DCDDD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208" name="Image20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84851" y="306055"/>
              <a:ext cx="332503" cy="259138"/>
            </a:xfrm>
            <a:prstGeom prst="rect">
              <a:avLst/>
            </a:prstGeom>
            <a:noFill/>
          </p:spPr>
        </p:pic>
      </p:grpSp>
      <p:sp>
        <p:nvSpPr>
          <p:cNvPr id="209" name="Text Box209"/>
          <p:cNvSpPr txBox="1"/>
          <p:nvPr/>
        </p:nvSpPr>
        <p:spPr>
          <a:xfrm>
            <a:off x="3048286" y="715049"/>
            <a:ext cx="192993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6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210" name="Text Box210"/>
          <p:cNvSpPr txBox="1"/>
          <p:nvPr/>
        </p:nvSpPr>
        <p:spPr>
          <a:xfrm>
            <a:off x="1985613" y="1041176"/>
            <a:ext cx="525263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14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6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1" name="Group211"/>
          <p:cNvGrpSpPr/>
          <p:nvPr/>
        </p:nvGrpSpPr>
        <p:grpSpPr>
          <a:xfrm>
            <a:off x="3088550" y="2721037"/>
            <a:ext cx="7265516" cy="3469387"/>
            <a:chOff x="1216092" y="2111323"/>
            <a:chExt cx="5637502" cy="2691987"/>
          </a:xfrm>
        </p:grpSpPr>
        <p:pic>
          <p:nvPicPr>
            <p:cNvPr id="212" name="Image21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16092" y="2111323"/>
              <a:ext cx="5637502" cy="2691987"/>
            </a:xfrm>
            <a:prstGeom prst="rect">
              <a:avLst/>
            </a:prstGeom>
            <a:noFill/>
          </p:spPr>
        </p:pic>
        <p:sp>
          <p:nvSpPr>
            <p:cNvPr id="213" name="Path213"/>
            <p:cNvSpPr/>
            <p:nvPr/>
          </p:nvSpPr>
          <p:spPr>
            <a:xfrm>
              <a:off x="1562536" y="3214436"/>
              <a:ext cx="771418" cy="770960"/>
            </a:xfrm>
            <a:custGeom>
              <a:avLst/>
              <a:gdLst/>
              <a:ahLst/>
              <a:cxnLst/>
              <a:rect l="l" t="t" r="r" b="b"/>
              <a:pathLst>
                <a:path w="771418" h="770960">
                  <a:moveTo>
                    <a:pt x="385709" y="745554"/>
                  </a:moveTo>
                  <a:cubicBezTo>
                    <a:pt x="584690" y="745554"/>
                    <a:pt x="745997" y="584355"/>
                    <a:pt x="745997" y="385467"/>
                  </a:cubicBezTo>
                  <a:cubicBezTo>
                    <a:pt x="745997" y="186604"/>
                    <a:pt x="584690" y="25406"/>
                    <a:pt x="385709" y="25406"/>
                  </a:cubicBezTo>
                  <a:cubicBezTo>
                    <a:pt x="186728" y="25406"/>
                    <a:pt x="25421" y="186604"/>
                    <a:pt x="25421" y="385467"/>
                  </a:cubicBezTo>
                  <a:cubicBezTo>
                    <a:pt x="25421" y="584355"/>
                    <a:pt x="186728" y="745554"/>
                    <a:pt x="385709" y="745554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2540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sp>
          <p:nvSpPr>
            <p:cNvPr id="214" name="Path214"/>
            <p:cNvSpPr/>
            <p:nvPr/>
          </p:nvSpPr>
          <p:spPr>
            <a:xfrm>
              <a:off x="2269565" y="3592338"/>
              <a:ext cx="952166" cy="287078"/>
            </a:xfrm>
            <a:custGeom>
              <a:avLst/>
              <a:gdLst/>
              <a:ahLst/>
              <a:cxnLst/>
              <a:rect l="l" t="t" r="r" b="b"/>
              <a:pathLst>
                <a:path w="952166" h="287078">
                  <a:moveTo>
                    <a:pt x="30883" y="30865"/>
                  </a:moveTo>
                  <a:lnTo>
                    <a:pt x="921283" y="256213"/>
                  </a:lnTo>
                </a:path>
              </a:pathLst>
            </a:custGeom>
            <a:solidFill>
              <a:srgbClr val="000000">
                <a:alpha val="0"/>
              </a:srgbClr>
            </a:solidFill>
            <a:ln w="2540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</p:grpSp>
      <p:pic>
        <p:nvPicPr>
          <p:cNvPr id="215" name="Image2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1758" y="1754633"/>
            <a:ext cx="2541579" cy="1444054"/>
          </a:xfrm>
          <a:prstGeom prst="rect">
            <a:avLst/>
          </a:prstGeom>
          <a:noFill/>
        </p:spPr>
      </p:pic>
      <p:pic>
        <p:nvPicPr>
          <p:cNvPr id="216" name="Image2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91757" y="238175"/>
            <a:ext cx="2541579" cy="1315997"/>
          </a:xfrm>
          <a:prstGeom prst="rect">
            <a:avLst/>
          </a:prstGeom>
          <a:noFill/>
        </p:spPr>
      </p:pic>
      <p:sp>
        <p:nvSpPr>
          <p:cNvPr id="217" name="Text Box217"/>
          <p:cNvSpPr txBox="1"/>
          <p:nvPr/>
        </p:nvSpPr>
        <p:spPr>
          <a:xfrm>
            <a:off x="2088077" y="2907327"/>
            <a:ext cx="168880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10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218" name="Text Box218"/>
          <p:cNvSpPr txBox="1"/>
          <p:nvPr/>
        </p:nvSpPr>
        <p:spPr>
          <a:xfrm>
            <a:off x="1985613" y="3224225"/>
            <a:ext cx="504607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67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7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219" name="Text Box219"/>
          <p:cNvSpPr txBox="1"/>
          <p:nvPr/>
        </p:nvSpPr>
        <p:spPr>
          <a:xfrm>
            <a:off x="3955686" y="2921283"/>
            <a:ext cx="168880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10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0" name="Image2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6791" y="2754545"/>
            <a:ext cx="4998364" cy="3125953"/>
          </a:xfrm>
          <a:prstGeom prst="rect">
            <a:avLst/>
          </a:prstGeom>
          <a:noFill/>
        </p:spPr>
      </p:pic>
      <p:grpSp>
        <p:nvGrpSpPr>
          <p:cNvPr id="221" name="Group221"/>
          <p:cNvGrpSpPr/>
          <p:nvPr/>
        </p:nvGrpSpPr>
        <p:grpSpPr>
          <a:xfrm>
            <a:off x="1979471" y="225775"/>
            <a:ext cx="2566151" cy="802146"/>
            <a:chOff x="355528" y="175185"/>
            <a:chExt cx="1991143" cy="622406"/>
          </a:xfrm>
        </p:grpSpPr>
        <p:pic>
          <p:nvPicPr>
            <p:cNvPr id="222" name="Image22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061" y="184807"/>
              <a:ext cx="1972077" cy="603257"/>
            </a:xfrm>
            <a:prstGeom prst="rect">
              <a:avLst/>
            </a:prstGeom>
            <a:noFill/>
          </p:spPr>
        </p:pic>
        <p:sp>
          <p:nvSpPr>
            <p:cNvPr id="223" name="Path223"/>
            <p:cNvSpPr/>
            <p:nvPr/>
          </p:nvSpPr>
          <p:spPr>
            <a:xfrm>
              <a:off x="355528" y="175185"/>
              <a:ext cx="1991143" cy="622406"/>
            </a:xfrm>
            <a:custGeom>
              <a:avLst/>
              <a:gdLst/>
              <a:ahLst/>
              <a:cxnLst/>
              <a:rect l="l" t="t" r="r" b="b"/>
              <a:pathLst>
                <a:path w="1991143" h="622406">
                  <a:moveTo>
                    <a:pt x="94756" y="9622"/>
                  </a:moveTo>
                  <a:cubicBezTo>
                    <a:pt x="63107" y="9939"/>
                    <a:pt x="9533" y="28257"/>
                    <a:pt x="9533" y="94883"/>
                  </a:cubicBezTo>
                  <a:lnTo>
                    <a:pt x="9533" y="527618"/>
                  </a:lnTo>
                  <a:cubicBezTo>
                    <a:pt x="9838" y="559375"/>
                    <a:pt x="28141" y="612879"/>
                    <a:pt x="94845" y="612879"/>
                  </a:cubicBezTo>
                  <a:lnTo>
                    <a:pt x="1896310" y="612879"/>
                  </a:lnTo>
                  <a:cubicBezTo>
                    <a:pt x="1928074" y="612574"/>
                    <a:pt x="1981610" y="594282"/>
                    <a:pt x="1981610" y="527618"/>
                  </a:cubicBezTo>
                  <a:lnTo>
                    <a:pt x="1981610" y="94883"/>
                  </a:lnTo>
                  <a:cubicBezTo>
                    <a:pt x="1981318" y="63126"/>
                    <a:pt x="1963002" y="9622"/>
                    <a:pt x="1896310" y="9622"/>
                  </a:cubicBezTo>
                  <a:lnTo>
                    <a:pt x="94896" y="9622"/>
                  </a:lnTo>
                  <a:lnTo>
                    <a:pt x="94756" y="9622"/>
                  </a:lnTo>
                  <a:close/>
                </a:path>
              </a:pathLst>
            </a:custGeom>
            <a:solidFill>
              <a:srgbClr val="DCDDD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224" name="Image22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32133" y="318250"/>
              <a:ext cx="237939" cy="234748"/>
            </a:xfrm>
            <a:prstGeom prst="rect">
              <a:avLst/>
            </a:prstGeom>
            <a:noFill/>
          </p:spPr>
        </p:pic>
      </p:grpSp>
      <p:sp>
        <p:nvSpPr>
          <p:cNvPr id="225" name="Text Box225"/>
          <p:cNvSpPr txBox="1"/>
          <p:nvPr/>
        </p:nvSpPr>
        <p:spPr>
          <a:xfrm>
            <a:off x="3109224" y="699335"/>
            <a:ext cx="168880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10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226" name="Text Box226"/>
          <p:cNvSpPr txBox="1"/>
          <p:nvPr/>
        </p:nvSpPr>
        <p:spPr>
          <a:xfrm>
            <a:off x="1985614" y="1041176"/>
            <a:ext cx="522708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4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8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7" name="Image2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4818" y="4485198"/>
            <a:ext cx="1478215" cy="1190514"/>
          </a:xfrm>
          <a:prstGeom prst="rect">
            <a:avLst/>
          </a:prstGeom>
          <a:noFill/>
        </p:spPr>
      </p:pic>
      <p:pic>
        <p:nvPicPr>
          <p:cNvPr id="228" name="Image2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4514" y="4485198"/>
            <a:ext cx="802010" cy="915479"/>
          </a:xfrm>
          <a:prstGeom prst="rect">
            <a:avLst/>
          </a:prstGeom>
          <a:noFill/>
        </p:spPr>
      </p:pic>
      <p:grpSp>
        <p:nvGrpSpPr>
          <p:cNvPr id="229" name="Group229"/>
          <p:cNvGrpSpPr/>
          <p:nvPr/>
        </p:nvGrpSpPr>
        <p:grpSpPr>
          <a:xfrm>
            <a:off x="1979471" y="1110296"/>
            <a:ext cx="2566151" cy="1019032"/>
            <a:chOff x="355528" y="861507"/>
            <a:chExt cx="1991143" cy="790693"/>
          </a:xfrm>
        </p:grpSpPr>
        <p:pic>
          <p:nvPicPr>
            <p:cNvPr id="230" name="Image23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5061" y="871130"/>
              <a:ext cx="1972077" cy="771544"/>
            </a:xfrm>
            <a:prstGeom prst="rect">
              <a:avLst/>
            </a:prstGeom>
            <a:noFill/>
          </p:spPr>
        </p:pic>
        <p:sp>
          <p:nvSpPr>
            <p:cNvPr id="231" name="Path231"/>
            <p:cNvSpPr/>
            <p:nvPr/>
          </p:nvSpPr>
          <p:spPr>
            <a:xfrm>
              <a:off x="355528" y="861507"/>
              <a:ext cx="1991143" cy="790693"/>
            </a:xfrm>
            <a:custGeom>
              <a:avLst/>
              <a:gdLst/>
              <a:ahLst/>
              <a:cxnLst/>
              <a:rect l="l" t="t" r="r" b="b"/>
              <a:pathLst>
                <a:path w="1991143" h="790693">
                  <a:moveTo>
                    <a:pt x="94756" y="9622"/>
                  </a:moveTo>
                  <a:cubicBezTo>
                    <a:pt x="63107" y="9940"/>
                    <a:pt x="9533" y="28257"/>
                    <a:pt x="9533" y="94884"/>
                  </a:cubicBezTo>
                  <a:lnTo>
                    <a:pt x="9533" y="695905"/>
                  </a:lnTo>
                  <a:cubicBezTo>
                    <a:pt x="9838" y="727662"/>
                    <a:pt x="28141" y="781166"/>
                    <a:pt x="94845" y="781166"/>
                  </a:cubicBezTo>
                  <a:lnTo>
                    <a:pt x="1896310" y="781166"/>
                  </a:lnTo>
                  <a:cubicBezTo>
                    <a:pt x="1928074" y="780861"/>
                    <a:pt x="1981610" y="762557"/>
                    <a:pt x="1981610" y="695905"/>
                  </a:cubicBezTo>
                  <a:lnTo>
                    <a:pt x="1981610" y="94884"/>
                  </a:lnTo>
                  <a:cubicBezTo>
                    <a:pt x="1981318" y="63127"/>
                    <a:pt x="1963002" y="9622"/>
                    <a:pt x="1896310" y="9622"/>
                  </a:cubicBezTo>
                  <a:lnTo>
                    <a:pt x="94896" y="9622"/>
                  </a:lnTo>
                  <a:lnTo>
                    <a:pt x="94756" y="9622"/>
                  </a:lnTo>
                  <a:close/>
                </a:path>
              </a:pathLst>
            </a:custGeom>
            <a:solidFill>
              <a:srgbClr val="DCDDD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232" name="Image23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75918" y="1178649"/>
              <a:ext cx="393513" cy="259138"/>
            </a:xfrm>
            <a:prstGeom prst="rect">
              <a:avLst/>
            </a:prstGeom>
            <a:noFill/>
          </p:spPr>
        </p:pic>
        <p:pic>
          <p:nvPicPr>
            <p:cNvPr id="233" name="Image23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529724" y="974389"/>
              <a:ext cx="396564" cy="463399"/>
            </a:xfrm>
            <a:prstGeom prst="rect">
              <a:avLst/>
            </a:prstGeom>
            <a:noFill/>
          </p:spPr>
        </p:pic>
      </p:grpSp>
      <p:grpSp>
        <p:nvGrpSpPr>
          <p:cNvPr id="234" name="Group234"/>
          <p:cNvGrpSpPr/>
          <p:nvPr/>
        </p:nvGrpSpPr>
        <p:grpSpPr>
          <a:xfrm>
            <a:off x="1979471" y="225852"/>
            <a:ext cx="2566151" cy="664812"/>
            <a:chOff x="355528" y="175244"/>
            <a:chExt cx="1991143" cy="515845"/>
          </a:xfrm>
        </p:grpSpPr>
        <p:pic>
          <p:nvPicPr>
            <p:cNvPr id="235" name="Image23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5061" y="184806"/>
              <a:ext cx="1972077" cy="496756"/>
            </a:xfrm>
            <a:prstGeom prst="rect">
              <a:avLst/>
            </a:prstGeom>
            <a:noFill/>
          </p:spPr>
        </p:pic>
        <p:sp>
          <p:nvSpPr>
            <p:cNvPr id="236" name="Path236"/>
            <p:cNvSpPr/>
            <p:nvPr/>
          </p:nvSpPr>
          <p:spPr>
            <a:xfrm>
              <a:off x="355528" y="175244"/>
              <a:ext cx="1991143" cy="515845"/>
            </a:xfrm>
            <a:custGeom>
              <a:avLst/>
              <a:gdLst/>
              <a:ahLst/>
              <a:cxnLst/>
              <a:rect l="l" t="t" r="r" b="b"/>
              <a:pathLst>
                <a:path w="1991143" h="515845">
                  <a:moveTo>
                    <a:pt x="94845" y="9562"/>
                  </a:moveTo>
                  <a:cubicBezTo>
                    <a:pt x="91362" y="9575"/>
                    <a:pt x="9533" y="10718"/>
                    <a:pt x="9533" y="94823"/>
                  </a:cubicBezTo>
                  <a:lnTo>
                    <a:pt x="9533" y="421057"/>
                  </a:lnTo>
                  <a:cubicBezTo>
                    <a:pt x="9545" y="424538"/>
                    <a:pt x="10689" y="506318"/>
                    <a:pt x="94845" y="506318"/>
                  </a:cubicBezTo>
                  <a:lnTo>
                    <a:pt x="1896310" y="506318"/>
                  </a:lnTo>
                  <a:cubicBezTo>
                    <a:pt x="1899780" y="506306"/>
                    <a:pt x="1981610" y="505162"/>
                    <a:pt x="1981610" y="421057"/>
                  </a:cubicBezTo>
                  <a:lnTo>
                    <a:pt x="1981610" y="94823"/>
                  </a:lnTo>
                  <a:cubicBezTo>
                    <a:pt x="1981610" y="91343"/>
                    <a:pt x="1980453" y="9562"/>
                    <a:pt x="1896310" y="9562"/>
                  </a:cubicBezTo>
                  <a:lnTo>
                    <a:pt x="94845" y="9562"/>
                  </a:lnTo>
                  <a:lnTo>
                    <a:pt x="94845" y="9562"/>
                  </a:lnTo>
                  <a:close/>
                </a:path>
              </a:pathLst>
            </a:custGeom>
            <a:solidFill>
              <a:srgbClr val="FFFFF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237" name="Image23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91565" y="288068"/>
              <a:ext cx="247700" cy="290234"/>
            </a:xfrm>
            <a:prstGeom prst="rect">
              <a:avLst/>
            </a:prstGeom>
            <a:noFill/>
          </p:spPr>
        </p:pic>
        <p:pic>
          <p:nvPicPr>
            <p:cNvPr id="238" name="Image23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397201" y="288068"/>
              <a:ext cx="247700" cy="290234"/>
            </a:xfrm>
            <a:prstGeom prst="rect">
              <a:avLst/>
            </a:prstGeom>
            <a:noFill/>
          </p:spPr>
        </p:pic>
      </p:grpSp>
      <p:sp>
        <p:nvSpPr>
          <p:cNvPr id="239" name="Text Box239"/>
          <p:cNvSpPr txBox="1"/>
          <p:nvPr/>
        </p:nvSpPr>
        <p:spPr>
          <a:xfrm>
            <a:off x="2521261" y="1839634"/>
            <a:ext cx="1164485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6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x</a:t>
            </a:r>
            <a:r>
              <a:rPr lang="en-US" altLang="zh-CN" sz="1031" spc="6233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 </a:t>
            </a:r>
            <a:r>
              <a:rPr lang="en-US" altLang="zh-CN" sz="1031" spc="-6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240" name="Text Box240"/>
          <p:cNvSpPr txBox="1"/>
          <p:nvPr/>
        </p:nvSpPr>
        <p:spPr>
          <a:xfrm>
            <a:off x="1985613" y="2142577"/>
            <a:ext cx="527393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23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9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1" name="Image24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6791" y="4465555"/>
            <a:ext cx="1261989" cy="1394826"/>
          </a:xfrm>
          <a:prstGeom prst="rect">
            <a:avLst/>
          </a:prstGeom>
          <a:noFill/>
        </p:spPr>
      </p:pic>
      <p:pic>
        <p:nvPicPr>
          <p:cNvPr id="242" name="Image2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7816" y="4465555"/>
            <a:ext cx="798079" cy="935123"/>
          </a:xfrm>
          <a:prstGeom prst="rect">
            <a:avLst/>
          </a:prstGeom>
          <a:noFill/>
        </p:spPr>
      </p:pic>
      <p:grpSp>
        <p:nvGrpSpPr>
          <p:cNvPr id="243" name="Group243"/>
          <p:cNvGrpSpPr/>
          <p:nvPr/>
        </p:nvGrpSpPr>
        <p:grpSpPr>
          <a:xfrm>
            <a:off x="1979471" y="225775"/>
            <a:ext cx="2566151" cy="802146"/>
            <a:chOff x="355528" y="175185"/>
            <a:chExt cx="1991143" cy="622406"/>
          </a:xfrm>
        </p:grpSpPr>
        <p:pic>
          <p:nvPicPr>
            <p:cNvPr id="244" name="Image24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5061" y="184807"/>
              <a:ext cx="1972077" cy="603257"/>
            </a:xfrm>
            <a:prstGeom prst="rect">
              <a:avLst/>
            </a:prstGeom>
            <a:noFill/>
          </p:spPr>
        </p:pic>
        <p:sp>
          <p:nvSpPr>
            <p:cNvPr id="245" name="Path245"/>
            <p:cNvSpPr/>
            <p:nvPr/>
          </p:nvSpPr>
          <p:spPr>
            <a:xfrm>
              <a:off x="355528" y="175185"/>
              <a:ext cx="1991143" cy="622406"/>
            </a:xfrm>
            <a:custGeom>
              <a:avLst/>
              <a:gdLst/>
              <a:ahLst/>
              <a:cxnLst/>
              <a:rect l="l" t="t" r="r" b="b"/>
              <a:pathLst>
                <a:path w="1991143" h="622406">
                  <a:moveTo>
                    <a:pt x="94756" y="9622"/>
                  </a:moveTo>
                  <a:cubicBezTo>
                    <a:pt x="63107" y="9939"/>
                    <a:pt x="9533" y="28257"/>
                    <a:pt x="9533" y="94883"/>
                  </a:cubicBezTo>
                  <a:lnTo>
                    <a:pt x="9533" y="527618"/>
                  </a:lnTo>
                  <a:cubicBezTo>
                    <a:pt x="9838" y="559375"/>
                    <a:pt x="28141" y="612879"/>
                    <a:pt x="94845" y="612879"/>
                  </a:cubicBezTo>
                  <a:lnTo>
                    <a:pt x="1896310" y="612879"/>
                  </a:lnTo>
                  <a:cubicBezTo>
                    <a:pt x="1928074" y="612574"/>
                    <a:pt x="1981610" y="594282"/>
                    <a:pt x="1981610" y="527618"/>
                  </a:cubicBezTo>
                  <a:lnTo>
                    <a:pt x="1981610" y="94883"/>
                  </a:lnTo>
                  <a:cubicBezTo>
                    <a:pt x="1981318" y="63126"/>
                    <a:pt x="1963002" y="9622"/>
                    <a:pt x="1896310" y="9622"/>
                  </a:cubicBezTo>
                  <a:lnTo>
                    <a:pt x="94896" y="9622"/>
                  </a:lnTo>
                  <a:lnTo>
                    <a:pt x="94756" y="9622"/>
                  </a:lnTo>
                  <a:close/>
                </a:path>
              </a:pathLst>
            </a:custGeom>
            <a:solidFill>
              <a:srgbClr val="DCDDD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246" name="Image24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15356" y="347213"/>
              <a:ext cx="271494" cy="176824"/>
            </a:xfrm>
            <a:prstGeom prst="rect">
              <a:avLst/>
            </a:prstGeom>
            <a:noFill/>
          </p:spPr>
        </p:pic>
      </p:grpSp>
      <p:sp>
        <p:nvSpPr>
          <p:cNvPr id="247" name="Text Box247"/>
          <p:cNvSpPr txBox="1"/>
          <p:nvPr/>
        </p:nvSpPr>
        <p:spPr>
          <a:xfrm>
            <a:off x="3087601" y="662008"/>
            <a:ext cx="189192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2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4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248" name="Text Box248"/>
          <p:cNvSpPr txBox="1"/>
          <p:nvPr/>
        </p:nvSpPr>
        <p:spPr>
          <a:xfrm>
            <a:off x="1985613" y="1041176"/>
            <a:ext cx="535911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57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30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9" name="Group249"/>
          <p:cNvGrpSpPr/>
          <p:nvPr/>
        </p:nvGrpSpPr>
        <p:grpSpPr>
          <a:xfrm>
            <a:off x="5241616" y="1"/>
            <a:ext cx="5126578" cy="5961735"/>
            <a:chOff x="2886711" y="0"/>
            <a:chExt cx="3977845" cy="4625865"/>
          </a:xfrm>
        </p:grpSpPr>
        <p:pic>
          <p:nvPicPr>
            <p:cNvPr id="250" name="Image25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86711" y="2138140"/>
              <a:ext cx="3977845" cy="2487725"/>
            </a:xfrm>
            <a:prstGeom prst="rect">
              <a:avLst/>
            </a:prstGeom>
            <a:noFill/>
          </p:spPr>
        </p:pic>
        <p:pic>
          <p:nvPicPr>
            <p:cNvPr id="251" name="Image25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09762" y="0"/>
              <a:ext cx="774824" cy="3085274"/>
            </a:xfrm>
            <a:prstGeom prst="rect">
              <a:avLst/>
            </a:prstGeom>
            <a:noFill/>
          </p:spPr>
        </p:pic>
      </p:grpSp>
      <p:sp>
        <p:nvSpPr>
          <p:cNvPr id="252" name="Text Box252"/>
          <p:cNvSpPr txBox="1"/>
          <p:nvPr/>
        </p:nvSpPr>
        <p:spPr>
          <a:xfrm>
            <a:off x="1985612" y="251429"/>
            <a:ext cx="456266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258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31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3" name="Image25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4490" y="1202850"/>
            <a:ext cx="7524745" cy="5048880"/>
          </a:xfrm>
          <a:prstGeom prst="rect">
            <a:avLst/>
          </a:prstGeom>
          <a:noFill/>
        </p:spPr>
      </p:pic>
      <p:pic>
        <p:nvPicPr>
          <p:cNvPr id="254" name="Image25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7876" y="3634"/>
            <a:ext cx="178879" cy="4208569"/>
          </a:xfrm>
          <a:prstGeom prst="rect">
            <a:avLst/>
          </a:prstGeom>
          <a:noFill/>
        </p:spPr>
      </p:pic>
      <p:sp>
        <p:nvSpPr>
          <p:cNvPr id="255" name="Text Box255"/>
          <p:cNvSpPr txBox="1"/>
          <p:nvPr/>
        </p:nvSpPr>
        <p:spPr>
          <a:xfrm>
            <a:off x="1985612" y="251429"/>
            <a:ext cx="525689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15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32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Path256"/>
          <p:cNvSpPr/>
          <p:nvPr/>
        </p:nvSpPr>
        <p:spPr>
          <a:xfrm>
            <a:off x="10564258" y="1964904"/>
            <a:ext cx="16380" cy="1489778"/>
          </a:xfrm>
          <a:custGeom>
            <a:avLst/>
            <a:gdLst/>
            <a:ahLst/>
            <a:cxnLst/>
            <a:rect l="l" t="t" r="r" b="b"/>
            <a:pathLst>
              <a:path w="12710" h="1155957">
                <a:moveTo>
                  <a:pt x="6355" y="1149605"/>
                </a:moveTo>
                <a:lnTo>
                  <a:pt x="6355" y="577978"/>
                </a:lnTo>
                <a:lnTo>
                  <a:pt x="6355" y="6351"/>
                </a:lnTo>
                <a:lnTo>
                  <a:pt x="6355" y="577978"/>
                </a:lnTo>
                <a:lnTo>
                  <a:pt x="6355" y="1149605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12700" cap="sq">
            <a:solidFill>
              <a:srgbClr val="EE1D23"/>
            </a:solidFill>
            <a:prstDash val="solid"/>
          </a:ln>
        </p:spPr>
        <p:txBody>
          <a:bodyPr rtlCol="0" anchor="ctr"/>
          <a:lstStyle/>
          <a:p>
            <a:pPr algn="ctr"/>
            <a:endParaRPr lang="en-US" altLang="zh-CN" sz="2320"/>
          </a:p>
        </p:txBody>
      </p:sp>
      <p:grpSp>
        <p:nvGrpSpPr>
          <p:cNvPr id="257" name="Group257"/>
          <p:cNvGrpSpPr/>
          <p:nvPr/>
        </p:nvGrpSpPr>
        <p:grpSpPr>
          <a:xfrm>
            <a:off x="3124226" y="1493199"/>
            <a:ext cx="5501467" cy="4863043"/>
            <a:chOff x="1243773" y="1158611"/>
            <a:chExt cx="4268731" cy="3773361"/>
          </a:xfrm>
        </p:grpSpPr>
        <p:pic>
          <p:nvPicPr>
            <p:cNvPr id="258" name="Image25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742093" y="1535740"/>
              <a:ext cx="3770411" cy="3396232"/>
            </a:xfrm>
            <a:prstGeom prst="rect">
              <a:avLst/>
            </a:prstGeom>
            <a:noFill/>
          </p:spPr>
        </p:pic>
        <p:sp>
          <p:nvSpPr>
            <p:cNvPr id="259" name="Path259"/>
            <p:cNvSpPr/>
            <p:nvPr/>
          </p:nvSpPr>
          <p:spPr>
            <a:xfrm>
              <a:off x="4088285" y="3653765"/>
              <a:ext cx="778078" cy="741731"/>
            </a:xfrm>
            <a:custGeom>
              <a:avLst/>
              <a:gdLst/>
              <a:ahLst/>
              <a:cxnLst/>
              <a:rect l="l" t="t" r="r" b="b"/>
              <a:pathLst>
                <a:path w="778078" h="741731">
                  <a:moveTo>
                    <a:pt x="389039" y="703622"/>
                  </a:moveTo>
                  <a:cubicBezTo>
                    <a:pt x="582834" y="703622"/>
                    <a:pt x="739947" y="554643"/>
                    <a:pt x="739947" y="370872"/>
                  </a:cubicBezTo>
                  <a:cubicBezTo>
                    <a:pt x="739947" y="187087"/>
                    <a:pt x="582834" y="38109"/>
                    <a:pt x="389039" y="38109"/>
                  </a:cubicBezTo>
                  <a:cubicBezTo>
                    <a:pt x="195244" y="38109"/>
                    <a:pt x="38131" y="187087"/>
                    <a:pt x="38131" y="370872"/>
                  </a:cubicBezTo>
                  <a:cubicBezTo>
                    <a:pt x="38131" y="554643"/>
                    <a:pt x="195244" y="703622"/>
                    <a:pt x="389039" y="703622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0480" cap="sq">
              <a:solidFill>
                <a:srgbClr val="EE1D23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260" name="Image26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43773" y="1158611"/>
              <a:ext cx="571140" cy="558124"/>
            </a:xfrm>
            <a:prstGeom prst="rect">
              <a:avLst/>
            </a:prstGeom>
            <a:noFill/>
          </p:spPr>
        </p:pic>
      </p:grpSp>
      <p:sp>
        <p:nvSpPr>
          <p:cNvPr id="261" name="Text Box261"/>
          <p:cNvSpPr txBox="1"/>
          <p:nvPr/>
        </p:nvSpPr>
        <p:spPr>
          <a:xfrm>
            <a:off x="1985611" y="251429"/>
            <a:ext cx="524411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12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33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2" name="Group262"/>
          <p:cNvGrpSpPr/>
          <p:nvPr/>
        </p:nvGrpSpPr>
        <p:grpSpPr>
          <a:xfrm>
            <a:off x="3031354" y="1546442"/>
            <a:ext cx="7341296" cy="4218080"/>
            <a:chOff x="1171712" y="1199924"/>
            <a:chExt cx="5696302" cy="3272918"/>
          </a:xfrm>
        </p:grpSpPr>
        <p:pic>
          <p:nvPicPr>
            <p:cNvPr id="263" name="Image26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389327" y="1311358"/>
              <a:ext cx="5478687" cy="3161484"/>
            </a:xfrm>
            <a:prstGeom prst="rect">
              <a:avLst/>
            </a:prstGeom>
            <a:noFill/>
          </p:spPr>
        </p:pic>
        <p:pic>
          <p:nvPicPr>
            <p:cNvPr id="264" name="Image26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71712" y="1199924"/>
              <a:ext cx="571146" cy="558124"/>
            </a:xfrm>
            <a:prstGeom prst="rect">
              <a:avLst/>
            </a:prstGeom>
            <a:noFill/>
          </p:spPr>
        </p:pic>
      </p:grpSp>
      <p:sp>
        <p:nvSpPr>
          <p:cNvPr id="265" name="Text Box265"/>
          <p:cNvSpPr txBox="1"/>
          <p:nvPr/>
        </p:nvSpPr>
        <p:spPr>
          <a:xfrm>
            <a:off x="1985612" y="251429"/>
            <a:ext cx="522707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4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34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9409" y="2552360"/>
            <a:ext cx="4236502" cy="244468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" name="Image26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1272" y="1"/>
            <a:ext cx="9141991" cy="685647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13663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2"/>
          <p:cNvGrpSpPr/>
          <p:nvPr/>
        </p:nvGrpSpPr>
        <p:grpSpPr>
          <a:xfrm>
            <a:off x="1985613" y="3241232"/>
            <a:ext cx="3333965" cy="2373956"/>
            <a:chOff x="360294" y="2514956"/>
            <a:chExt cx="2586910" cy="1842014"/>
          </a:xfrm>
        </p:grpSpPr>
        <p:pic>
          <p:nvPicPr>
            <p:cNvPr id="3" name="Image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0294" y="2514956"/>
              <a:ext cx="2267737" cy="1842014"/>
            </a:xfrm>
            <a:prstGeom prst="rect">
              <a:avLst/>
            </a:prstGeom>
            <a:noFill/>
          </p:spPr>
        </p:pic>
        <p:sp>
          <p:nvSpPr>
            <p:cNvPr id="4" name="Path4"/>
            <p:cNvSpPr/>
            <p:nvPr/>
          </p:nvSpPr>
          <p:spPr>
            <a:xfrm>
              <a:off x="2351373" y="2850353"/>
              <a:ext cx="527366" cy="76217"/>
            </a:xfrm>
            <a:custGeom>
              <a:avLst/>
              <a:gdLst/>
              <a:ahLst/>
              <a:cxnLst/>
              <a:rect l="l" t="t" r="r" b="b"/>
              <a:pathLst>
                <a:path w="527366" h="76217">
                  <a:moveTo>
                    <a:pt x="38131" y="38108"/>
                  </a:moveTo>
                  <a:lnTo>
                    <a:pt x="489235" y="38108"/>
                  </a:lnTo>
                </a:path>
              </a:pathLst>
            </a:custGeom>
            <a:solidFill>
              <a:srgbClr val="EE1D23">
                <a:alpha val="0"/>
              </a:srgbClr>
            </a:solidFill>
            <a:ln w="3048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5" name="Image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70682" y="2824261"/>
              <a:ext cx="176522" cy="128401"/>
            </a:xfrm>
            <a:prstGeom prst="rect">
              <a:avLst/>
            </a:prstGeom>
            <a:noFill/>
          </p:spPr>
        </p:pic>
      </p:grpSp>
      <p:pic>
        <p:nvPicPr>
          <p:cNvPr id="6" name="Image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12350" y="1818045"/>
            <a:ext cx="736092" cy="719299"/>
          </a:xfrm>
          <a:prstGeom prst="rect">
            <a:avLst/>
          </a:prstGeom>
          <a:noFill/>
        </p:spPr>
      </p:pic>
      <p:grpSp>
        <p:nvGrpSpPr>
          <p:cNvPr id="7" name="Group7"/>
          <p:cNvGrpSpPr/>
          <p:nvPr/>
        </p:nvGrpSpPr>
        <p:grpSpPr>
          <a:xfrm>
            <a:off x="5528489" y="2246386"/>
            <a:ext cx="4863638" cy="2574341"/>
            <a:chOff x="3109303" y="1743029"/>
            <a:chExt cx="3773823" cy="1997498"/>
          </a:xfrm>
        </p:grpSpPr>
        <p:pic>
          <p:nvPicPr>
            <p:cNvPr id="8" name="Image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09303" y="1743029"/>
              <a:ext cx="1541109" cy="1992010"/>
            </a:xfrm>
            <a:prstGeom prst="rect">
              <a:avLst/>
            </a:prstGeom>
            <a:noFill/>
          </p:spPr>
        </p:pic>
        <p:pic>
          <p:nvPicPr>
            <p:cNvPr id="9" name="Image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325544" y="2514956"/>
              <a:ext cx="1557582" cy="1225571"/>
            </a:xfrm>
            <a:prstGeom prst="rect">
              <a:avLst/>
            </a:prstGeom>
            <a:noFill/>
          </p:spPr>
        </p:pic>
        <p:sp>
          <p:nvSpPr>
            <p:cNvPr id="10" name="Path10"/>
            <p:cNvSpPr/>
            <p:nvPr/>
          </p:nvSpPr>
          <p:spPr>
            <a:xfrm>
              <a:off x="3246591" y="2433177"/>
              <a:ext cx="50842" cy="475022"/>
            </a:xfrm>
            <a:custGeom>
              <a:avLst/>
              <a:gdLst/>
              <a:ahLst/>
              <a:cxnLst/>
              <a:rect l="l" t="t" r="r" b="b"/>
              <a:pathLst>
                <a:path w="50842" h="475022">
                  <a:moveTo>
                    <a:pt x="25421" y="25406"/>
                  </a:moveTo>
                  <a:lnTo>
                    <a:pt x="25421" y="449616"/>
                  </a:lnTo>
                </a:path>
              </a:pathLst>
            </a:custGeom>
            <a:solidFill>
              <a:srgbClr val="000000">
                <a:alpha val="0"/>
              </a:srgbClr>
            </a:solidFill>
            <a:ln w="25400" cap="sq">
              <a:solidFill>
                <a:srgbClr val="EE1D23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11" name="Image1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222416" y="2370624"/>
              <a:ext cx="99192" cy="136200"/>
            </a:xfrm>
            <a:prstGeom prst="rect">
              <a:avLst/>
            </a:prstGeom>
            <a:noFill/>
          </p:spPr>
        </p:pic>
        <p:pic>
          <p:nvPicPr>
            <p:cNvPr id="12" name="Image12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222416" y="2834553"/>
              <a:ext cx="99192" cy="136200"/>
            </a:xfrm>
            <a:prstGeom prst="rect">
              <a:avLst/>
            </a:prstGeom>
            <a:noFill/>
          </p:spPr>
        </p:pic>
        <p:sp>
          <p:nvSpPr>
            <p:cNvPr id="13" name="Path13"/>
            <p:cNvSpPr/>
            <p:nvPr/>
          </p:nvSpPr>
          <p:spPr>
            <a:xfrm>
              <a:off x="4458122" y="2353959"/>
              <a:ext cx="50842" cy="472876"/>
            </a:xfrm>
            <a:custGeom>
              <a:avLst/>
              <a:gdLst/>
              <a:ahLst/>
              <a:cxnLst/>
              <a:rect l="l" t="t" r="r" b="b"/>
              <a:pathLst>
                <a:path w="50842" h="472876">
                  <a:moveTo>
                    <a:pt x="25421" y="25406"/>
                  </a:moveTo>
                  <a:lnTo>
                    <a:pt x="25421" y="447470"/>
                  </a:lnTo>
                </a:path>
              </a:pathLst>
            </a:custGeom>
            <a:solidFill>
              <a:srgbClr val="EE1D23">
                <a:alpha val="0"/>
              </a:srgbClr>
            </a:solidFill>
            <a:ln w="25400" cap="sq">
              <a:solidFill>
                <a:srgbClr val="EE1D23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14" name="Image1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433947" y="2291406"/>
              <a:ext cx="99192" cy="136199"/>
            </a:xfrm>
            <a:prstGeom prst="rect">
              <a:avLst/>
            </a:prstGeom>
            <a:noFill/>
          </p:spPr>
        </p:pic>
        <p:pic>
          <p:nvPicPr>
            <p:cNvPr id="15" name="Image15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433947" y="2753193"/>
              <a:ext cx="99192" cy="136200"/>
            </a:xfrm>
            <a:prstGeom prst="rect">
              <a:avLst/>
            </a:prstGeom>
            <a:noFill/>
          </p:spPr>
        </p:pic>
        <p:sp>
          <p:nvSpPr>
            <p:cNvPr id="16" name="Path16"/>
            <p:cNvSpPr/>
            <p:nvPr/>
          </p:nvSpPr>
          <p:spPr>
            <a:xfrm>
              <a:off x="4700490" y="3011891"/>
              <a:ext cx="527366" cy="76216"/>
            </a:xfrm>
            <a:custGeom>
              <a:avLst/>
              <a:gdLst/>
              <a:ahLst/>
              <a:cxnLst/>
              <a:rect l="l" t="t" r="r" b="b"/>
              <a:pathLst>
                <a:path w="527366" h="76216">
                  <a:moveTo>
                    <a:pt x="38131" y="38109"/>
                  </a:moveTo>
                  <a:lnTo>
                    <a:pt x="489234" y="38109"/>
                  </a:lnTo>
                </a:path>
              </a:pathLst>
            </a:custGeom>
            <a:solidFill>
              <a:srgbClr val="231F20">
                <a:alpha val="0"/>
              </a:srgbClr>
            </a:solidFill>
            <a:ln w="3048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17" name="Image17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119798" y="2985799"/>
              <a:ext cx="176522" cy="128400"/>
            </a:xfrm>
            <a:prstGeom prst="rect">
              <a:avLst/>
            </a:prstGeom>
            <a:noFill/>
          </p:spPr>
        </p:pic>
      </p:grpSp>
      <p:grpSp>
        <p:nvGrpSpPr>
          <p:cNvPr id="18" name="Group18"/>
          <p:cNvGrpSpPr/>
          <p:nvPr/>
        </p:nvGrpSpPr>
        <p:grpSpPr>
          <a:xfrm>
            <a:off x="8347078" y="1809856"/>
            <a:ext cx="736109" cy="735672"/>
            <a:chOff x="5296320" y="1404314"/>
            <a:chExt cx="571166" cy="570827"/>
          </a:xfrm>
        </p:grpSpPr>
        <p:sp>
          <p:nvSpPr>
            <p:cNvPr id="19" name="Path19"/>
            <p:cNvSpPr/>
            <p:nvPr/>
          </p:nvSpPr>
          <p:spPr>
            <a:xfrm>
              <a:off x="5302664" y="1410667"/>
              <a:ext cx="558468" cy="558124"/>
            </a:xfrm>
            <a:custGeom>
              <a:avLst/>
              <a:gdLst/>
              <a:ahLst/>
              <a:cxnLst/>
              <a:rect l="l" t="t" r="r" b="b"/>
              <a:pathLst>
                <a:path w="558468" h="558124">
                  <a:moveTo>
                    <a:pt x="468390" y="558124"/>
                  </a:moveTo>
                  <a:lnTo>
                    <a:pt x="90078" y="558124"/>
                  </a:lnTo>
                  <a:cubicBezTo>
                    <a:pt x="40330" y="558124"/>
                    <a:pt x="0" y="517818"/>
                    <a:pt x="0" y="468099"/>
                  </a:cubicBezTo>
                  <a:lnTo>
                    <a:pt x="0" y="90012"/>
                  </a:lnTo>
                  <a:cubicBezTo>
                    <a:pt x="0" y="40306"/>
                    <a:pt x="40330" y="0"/>
                    <a:pt x="90078" y="0"/>
                  </a:cubicBezTo>
                  <a:lnTo>
                    <a:pt x="468390" y="0"/>
                  </a:lnTo>
                  <a:cubicBezTo>
                    <a:pt x="518138" y="0"/>
                    <a:pt x="558468" y="40306"/>
                    <a:pt x="558468" y="90012"/>
                  </a:cubicBezTo>
                  <a:lnTo>
                    <a:pt x="558468" y="468099"/>
                  </a:lnTo>
                  <a:cubicBezTo>
                    <a:pt x="558468" y="517818"/>
                    <a:pt x="518138" y="558124"/>
                    <a:pt x="468390" y="558124"/>
                  </a:cubicBezTo>
                </a:path>
              </a:pathLst>
            </a:custGeom>
            <a:solidFill>
              <a:srgbClr val="FFFFFF">
                <a:alpha val="100000"/>
              </a:srgbClr>
            </a:solidFill>
            <a:ln w="0" cap="sq">
              <a:solidFill>
                <a:srgbClr val="FFFFFF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sp>
          <p:nvSpPr>
            <p:cNvPr id="20" name="Path20"/>
            <p:cNvSpPr/>
            <p:nvPr/>
          </p:nvSpPr>
          <p:spPr>
            <a:xfrm>
              <a:off x="5296320" y="1404314"/>
              <a:ext cx="571166" cy="570827"/>
            </a:xfrm>
            <a:custGeom>
              <a:avLst/>
              <a:gdLst/>
              <a:ahLst/>
              <a:cxnLst/>
              <a:rect l="l" t="t" r="r" b="b"/>
              <a:pathLst>
                <a:path w="571166" h="570827">
                  <a:moveTo>
                    <a:pt x="96420" y="12703"/>
                  </a:moveTo>
                  <a:cubicBezTo>
                    <a:pt x="50256" y="12703"/>
                    <a:pt x="12710" y="50240"/>
                    <a:pt x="12710" y="96364"/>
                  </a:cubicBezTo>
                  <a:lnTo>
                    <a:pt x="12710" y="474463"/>
                  </a:lnTo>
                  <a:cubicBezTo>
                    <a:pt x="12710" y="520587"/>
                    <a:pt x="50256" y="558124"/>
                    <a:pt x="96420" y="558124"/>
                  </a:cubicBezTo>
                  <a:lnTo>
                    <a:pt x="474732" y="558124"/>
                  </a:lnTo>
                  <a:cubicBezTo>
                    <a:pt x="520896" y="558124"/>
                    <a:pt x="558455" y="520587"/>
                    <a:pt x="558455" y="474463"/>
                  </a:cubicBezTo>
                  <a:lnTo>
                    <a:pt x="558455" y="96364"/>
                  </a:lnTo>
                  <a:cubicBezTo>
                    <a:pt x="558455" y="50240"/>
                    <a:pt x="520896" y="12703"/>
                    <a:pt x="474732" y="12703"/>
                  </a:cubicBezTo>
                  <a:lnTo>
                    <a:pt x="96420" y="12703"/>
                  </a:lnTo>
                  <a:close/>
                  <a:moveTo>
                    <a:pt x="474732" y="570827"/>
                  </a:moveTo>
                  <a:lnTo>
                    <a:pt x="96420" y="570827"/>
                  </a:lnTo>
                  <a:cubicBezTo>
                    <a:pt x="43253" y="570827"/>
                    <a:pt x="0" y="527599"/>
                    <a:pt x="0" y="474463"/>
                  </a:cubicBezTo>
                  <a:lnTo>
                    <a:pt x="0" y="96364"/>
                  </a:lnTo>
                  <a:cubicBezTo>
                    <a:pt x="0" y="43228"/>
                    <a:pt x="43253" y="0"/>
                    <a:pt x="96420" y="0"/>
                  </a:cubicBezTo>
                  <a:lnTo>
                    <a:pt x="474732" y="0"/>
                  </a:lnTo>
                  <a:cubicBezTo>
                    <a:pt x="527912" y="0"/>
                    <a:pt x="571166" y="43228"/>
                    <a:pt x="571166" y="96364"/>
                  </a:cubicBezTo>
                  <a:lnTo>
                    <a:pt x="571166" y="474463"/>
                  </a:lnTo>
                  <a:cubicBezTo>
                    <a:pt x="571166" y="527599"/>
                    <a:pt x="527912" y="570827"/>
                    <a:pt x="474732" y="570827"/>
                  </a:cubicBezTo>
                </a:path>
              </a:pathLst>
            </a:custGeom>
            <a:solidFill>
              <a:srgbClr val="231F20">
                <a:alpha val="100000"/>
              </a:srgbClr>
            </a:solidFill>
            <a:ln w="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sp>
          <p:nvSpPr>
            <p:cNvPr id="21" name="Path21"/>
            <p:cNvSpPr/>
            <p:nvPr/>
          </p:nvSpPr>
          <p:spPr>
            <a:xfrm>
              <a:off x="5471569" y="1455178"/>
              <a:ext cx="97515" cy="109562"/>
            </a:xfrm>
            <a:custGeom>
              <a:avLst/>
              <a:gdLst/>
              <a:ahLst/>
              <a:cxnLst/>
              <a:rect l="l" t="t" r="r" b="b"/>
              <a:pathLst>
                <a:path w="97515" h="109562">
                  <a:moveTo>
                    <a:pt x="15735" y="106285"/>
                  </a:moveTo>
                  <a:cubicBezTo>
                    <a:pt x="15735" y="106285"/>
                    <a:pt x="20972" y="102588"/>
                    <a:pt x="21430" y="101292"/>
                  </a:cubicBezTo>
                  <a:cubicBezTo>
                    <a:pt x="40114" y="49325"/>
                    <a:pt x="64759" y="16501"/>
                    <a:pt x="97514" y="5246"/>
                  </a:cubicBezTo>
                  <a:cubicBezTo>
                    <a:pt x="83355" y="4738"/>
                    <a:pt x="36466" y="0"/>
                    <a:pt x="724" y="103935"/>
                  </a:cubicBezTo>
                  <a:cubicBezTo>
                    <a:pt x="0" y="106056"/>
                    <a:pt x="2161" y="109562"/>
                    <a:pt x="2161" y="109562"/>
                  </a:cubicBezTo>
                  <a:lnTo>
                    <a:pt x="15735" y="106285"/>
                  </a:lnTo>
                  <a:close/>
                </a:path>
              </a:pathLst>
            </a:custGeom>
            <a:solidFill>
              <a:srgbClr val="231F20">
                <a:alpha val="100000"/>
              </a:srgbClr>
            </a:solidFill>
            <a:ln w="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sp>
          <p:nvSpPr>
            <p:cNvPr id="22" name="Path22"/>
            <p:cNvSpPr/>
            <p:nvPr/>
          </p:nvSpPr>
          <p:spPr>
            <a:xfrm>
              <a:off x="5707669" y="1583273"/>
              <a:ext cx="109310" cy="107542"/>
            </a:xfrm>
            <a:custGeom>
              <a:avLst/>
              <a:gdLst/>
              <a:ahLst/>
              <a:cxnLst/>
              <a:rect l="l" t="t" r="r" b="b"/>
              <a:pathLst>
                <a:path w="109310" h="107542">
                  <a:moveTo>
                    <a:pt x="5555" y="724"/>
                  </a:moveTo>
                  <a:cubicBezTo>
                    <a:pt x="3432" y="0"/>
                    <a:pt x="0" y="2159"/>
                    <a:pt x="0" y="2159"/>
                  </a:cubicBezTo>
                  <a:lnTo>
                    <a:pt x="3978" y="17022"/>
                  </a:lnTo>
                  <a:cubicBezTo>
                    <a:pt x="3978" y="17022"/>
                    <a:pt x="6965" y="20820"/>
                    <a:pt x="8046" y="21226"/>
                  </a:cubicBezTo>
                  <a:cubicBezTo>
                    <a:pt x="57998" y="40103"/>
                    <a:pt x="91985" y="75556"/>
                    <a:pt x="102993" y="107542"/>
                  </a:cubicBezTo>
                  <a:cubicBezTo>
                    <a:pt x="103501" y="93391"/>
                    <a:pt x="109310" y="36381"/>
                    <a:pt x="5555" y="724"/>
                  </a:cubicBezTo>
                </a:path>
              </a:pathLst>
            </a:custGeom>
            <a:solidFill>
              <a:srgbClr val="231F20">
                <a:alpha val="100000"/>
              </a:srgbClr>
            </a:solidFill>
            <a:ln w="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sp>
          <p:nvSpPr>
            <p:cNvPr id="23" name="Path23"/>
            <p:cNvSpPr/>
            <p:nvPr/>
          </p:nvSpPr>
          <p:spPr>
            <a:xfrm>
              <a:off x="5354095" y="1564787"/>
              <a:ext cx="282399" cy="120359"/>
            </a:xfrm>
            <a:custGeom>
              <a:avLst/>
              <a:gdLst/>
              <a:ahLst/>
              <a:cxnLst/>
              <a:rect l="l" t="t" r="r" b="b"/>
              <a:pathLst>
                <a:path w="282399" h="120359">
                  <a:moveTo>
                    <a:pt x="222686" y="22001"/>
                  </a:moveTo>
                  <a:cubicBezTo>
                    <a:pt x="246340" y="22637"/>
                    <a:pt x="268316" y="24910"/>
                    <a:pt x="278141" y="26041"/>
                  </a:cubicBezTo>
                  <a:cubicBezTo>
                    <a:pt x="281598" y="26447"/>
                    <a:pt x="282399" y="22065"/>
                    <a:pt x="282399" y="22065"/>
                  </a:cubicBezTo>
                  <a:lnTo>
                    <a:pt x="278993" y="8460"/>
                  </a:lnTo>
                  <a:cubicBezTo>
                    <a:pt x="278993" y="8460"/>
                    <a:pt x="276082" y="4827"/>
                    <a:pt x="275027" y="4637"/>
                  </a:cubicBezTo>
                  <a:cubicBezTo>
                    <a:pt x="249670" y="0"/>
                    <a:pt x="222686" y="724"/>
                    <a:pt x="222686" y="724"/>
                  </a:cubicBezTo>
                  <a:cubicBezTo>
                    <a:pt x="98734" y="724"/>
                    <a:pt x="0" y="59780"/>
                    <a:pt x="0" y="100772"/>
                  </a:cubicBezTo>
                  <a:cubicBezTo>
                    <a:pt x="0" y="107466"/>
                    <a:pt x="1373" y="113983"/>
                    <a:pt x="3559" y="120359"/>
                  </a:cubicBezTo>
                  <a:cubicBezTo>
                    <a:pt x="21925" y="66969"/>
                    <a:pt x="111991" y="19042"/>
                    <a:pt x="222686" y="22001"/>
                  </a:cubicBezTo>
                </a:path>
              </a:pathLst>
            </a:custGeom>
            <a:solidFill>
              <a:srgbClr val="231F20">
                <a:alpha val="100000"/>
              </a:srgbClr>
            </a:solidFill>
            <a:ln w="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sp>
          <p:nvSpPr>
            <p:cNvPr id="24" name="Path24"/>
            <p:cNvSpPr/>
            <p:nvPr/>
          </p:nvSpPr>
          <p:spPr>
            <a:xfrm>
              <a:off x="5512268" y="1689537"/>
              <a:ext cx="291652" cy="153349"/>
            </a:xfrm>
            <a:custGeom>
              <a:avLst/>
              <a:gdLst/>
              <a:ahLst/>
              <a:cxnLst/>
              <a:rect l="l" t="t" r="r" b="b"/>
              <a:pathLst>
                <a:path w="291652" h="153349">
                  <a:moveTo>
                    <a:pt x="283263" y="3544"/>
                  </a:moveTo>
                  <a:cubicBezTo>
                    <a:pt x="260296" y="45451"/>
                    <a:pt x="191227" y="77627"/>
                    <a:pt x="105356" y="85071"/>
                  </a:cubicBezTo>
                  <a:lnTo>
                    <a:pt x="105356" y="57264"/>
                  </a:lnTo>
                  <a:cubicBezTo>
                    <a:pt x="103704" y="55588"/>
                    <a:pt x="100984" y="55588"/>
                    <a:pt x="99319" y="57264"/>
                  </a:cubicBezTo>
                  <a:lnTo>
                    <a:pt x="1665" y="101457"/>
                  </a:lnTo>
                  <a:cubicBezTo>
                    <a:pt x="0" y="103109"/>
                    <a:pt x="0" y="105814"/>
                    <a:pt x="1665" y="107491"/>
                  </a:cubicBezTo>
                  <a:lnTo>
                    <a:pt x="99319" y="151697"/>
                  </a:lnTo>
                  <a:cubicBezTo>
                    <a:pt x="100984" y="153348"/>
                    <a:pt x="103704" y="153348"/>
                    <a:pt x="105356" y="151697"/>
                  </a:cubicBezTo>
                  <a:lnTo>
                    <a:pt x="105356" y="124119"/>
                  </a:lnTo>
                  <a:cubicBezTo>
                    <a:pt x="211094" y="114935"/>
                    <a:pt x="291652" y="68417"/>
                    <a:pt x="291652" y="12271"/>
                  </a:cubicBezTo>
                  <a:cubicBezTo>
                    <a:pt x="291652" y="10238"/>
                    <a:pt x="291525" y="8219"/>
                    <a:pt x="291296" y="6199"/>
                  </a:cubicBezTo>
                  <a:cubicBezTo>
                    <a:pt x="290737" y="1626"/>
                    <a:pt x="285208" y="0"/>
                    <a:pt x="283263" y="3544"/>
                  </a:cubicBezTo>
                </a:path>
              </a:pathLst>
            </a:custGeom>
            <a:solidFill>
              <a:srgbClr val="231F20">
                <a:alpha val="100000"/>
              </a:srgbClr>
            </a:solidFill>
            <a:ln w="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sp>
          <p:nvSpPr>
            <p:cNvPr id="25" name="Path25"/>
            <p:cNvSpPr/>
            <p:nvPr/>
          </p:nvSpPr>
          <p:spPr>
            <a:xfrm>
              <a:off x="5477538" y="1819930"/>
              <a:ext cx="91541" cy="89478"/>
            </a:xfrm>
            <a:custGeom>
              <a:avLst/>
              <a:gdLst/>
              <a:ahLst/>
              <a:cxnLst/>
              <a:rect l="l" t="t" r="r" b="b"/>
              <a:pathLst>
                <a:path w="91541" h="89478">
                  <a:moveTo>
                    <a:pt x="21366" y="7647"/>
                  </a:moveTo>
                  <a:cubicBezTo>
                    <a:pt x="20947" y="6656"/>
                    <a:pt x="17363" y="3861"/>
                    <a:pt x="17363" y="3861"/>
                  </a:cubicBezTo>
                  <a:lnTo>
                    <a:pt x="3559" y="0"/>
                  </a:lnTo>
                  <a:cubicBezTo>
                    <a:pt x="3559" y="0"/>
                    <a:pt x="0" y="1499"/>
                    <a:pt x="521" y="2871"/>
                  </a:cubicBezTo>
                  <a:cubicBezTo>
                    <a:pt x="22790" y="62040"/>
                    <a:pt x="46456" y="89478"/>
                    <a:pt x="71953" y="89478"/>
                  </a:cubicBezTo>
                  <a:cubicBezTo>
                    <a:pt x="78665" y="89478"/>
                    <a:pt x="85185" y="88106"/>
                    <a:pt x="91540" y="85934"/>
                  </a:cubicBezTo>
                  <a:cubicBezTo>
                    <a:pt x="61213" y="75493"/>
                    <a:pt x="41156" y="55359"/>
                    <a:pt x="21366" y="7647"/>
                  </a:cubicBezTo>
                </a:path>
              </a:pathLst>
            </a:custGeom>
            <a:solidFill>
              <a:srgbClr val="231F20">
                <a:alpha val="100000"/>
              </a:srgbClr>
            </a:solidFill>
            <a:ln w="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sp>
          <p:nvSpPr>
            <p:cNvPr id="26" name="Path26"/>
            <p:cNvSpPr/>
            <p:nvPr/>
          </p:nvSpPr>
          <p:spPr>
            <a:xfrm>
              <a:off x="5575123" y="1819929"/>
              <a:ext cx="104721" cy="106919"/>
            </a:xfrm>
            <a:custGeom>
              <a:avLst/>
              <a:gdLst/>
              <a:ahLst/>
              <a:cxnLst/>
              <a:rect l="l" t="t" r="r" b="b"/>
              <a:pathLst>
                <a:path w="104721" h="106919">
                  <a:moveTo>
                    <a:pt x="0" y="98980"/>
                  </a:moveTo>
                  <a:cubicBezTo>
                    <a:pt x="14541" y="99501"/>
                    <a:pt x="64594" y="106920"/>
                    <a:pt x="104721" y="0"/>
                  </a:cubicBezTo>
                  <a:lnTo>
                    <a:pt x="82935" y="6148"/>
                  </a:lnTo>
                  <a:cubicBezTo>
                    <a:pt x="64607" y="61177"/>
                    <a:pt x="33860" y="87357"/>
                    <a:pt x="0" y="98980"/>
                  </a:cubicBezTo>
                </a:path>
              </a:pathLst>
            </a:custGeom>
            <a:solidFill>
              <a:srgbClr val="231F20">
                <a:alpha val="100000"/>
              </a:srgbClr>
            </a:solidFill>
            <a:ln w="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sp>
          <p:nvSpPr>
            <p:cNvPr id="27" name="Path27"/>
            <p:cNvSpPr/>
            <p:nvPr/>
          </p:nvSpPr>
          <p:spPr>
            <a:xfrm>
              <a:off x="5340403" y="1685141"/>
              <a:ext cx="154152" cy="120257"/>
            </a:xfrm>
            <a:custGeom>
              <a:avLst/>
              <a:gdLst/>
              <a:ahLst/>
              <a:cxnLst/>
              <a:rect l="l" t="t" r="r" b="b"/>
              <a:pathLst>
                <a:path w="154152" h="120257">
                  <a:moveTo>
                    <a:pt x="148000" y="98497"/>
                  </a:moveTo>
                  <a:cubicBezTo>
                    <a:pt x="92939" y="80167"/>
                    <a:pt x="18164" y="53339"/>
                    <a:pt x="6572" y="0"/>
                  </a:cubicBezTo>
                  <a:cubicBezTo>
                    <a:pt x="6038" y="14532"/>
                    <a:pt x="0" y="80688"/>
                    <a:pt x="154152" y="120257"/>
                  </a:cubicBezTo>
                  <a:lnTo>
                    <a:pt x="148000" y="98497"/>
                  </a:lnTo>
                  <a:close/>
                </a:path>
              </a:pathLst>
            </a:custGeom>
            <a:solidFill>
              <a:srgbClr val="231F20">
                <a:alpha val="100000"/>
              </a:srgbClr>
            </a:solidFill>
            <a:ln w="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sp>
          <p:nvSpPr>
            <p:cNvPr id="28" name="Path28"/>
            <p:cNvSpPr/>
            <p:nvPr/>
          </p:nvSpPr>
          <p:spPr>
            <a:xfrm>
              <a:off x="5454672" y="1618954"/>
              <a:ext cx="28408" cy="143732"/>
            </a:xfrm>
            <a:custGeom>
              <a:avLst/>
              <a:gdLst/>
              <a:ahLst/>
              <a:cxnLst/>
              <a:rect l="l" t="t" r="r" b="b"/>
              <a:pathLst>
                <a:path w="28408" h="143732">
                  <a:moveTo>
                    <a:pt x="27022" y="4776"/>
                  </a:moveTo>
                  <a:cubicBezTo>
                    <a:pt x="27505" y="1131"/>
                    <a:pt x="24760" y="0"/>
                    <a:pt x="24760" y="0"/>
                  </a:cubicBezTo>
                  <a:lnTo>
                    <a:pt x="11083" y="3709"/>
                  </a:lnTo>
                  <a:cubicBezTo>
                    <a:pt x="11083" y="3709"/>
                    <a:pt x="6203" y="8168"/>
                    <a:pt x="5961" y="9769"/>
                  </a:cubicBezTo>
                  <a:cubicBezTo>
                    <a:pt x="0" y="48792"/>
                    <a:pt x="750" y="70285"/>
                    <a:pt x="750" y="70285"/>
                  </a:cubicBezTo>
                  <a:cubicBezTo>
                    <a:pt x="750" y="95259"/>
                    <a:pt x="2491" y="112204"/>
                    <a:pt x="6902" y="134333"/>
                  </a:cubicBezTo>
                  <a:cubicBezTo>
                    <a:pt x="7169" y="135742"/>
                    <a:pt x="9609" y="139147"/>
                    <a:pt x="9609" y="139147"/>
                  </a:cubicBezTo>
                  <a:lnTo>
                    <a:pt x="24480" y="143733"/>
                  </a:lnTo>
                  <a:cubicBezTo>
                    <a:pt x="24480" y="143733"/>
                    <a:pt x="28408" y="141472"/>
                    <a:pt x="28027" y="139591"/>
                  </a:cubicBezTo>
                  <a:cubicBezTo>
                    <a:pt x="23349" y="116485"/>
                    <a:pt x="21341" y="96161"/>
                    <a:pt x="22040" y="70285"/>
                  </a:cubicBezTo>
                  <a:cubicBezTo>
                    <a:pt x="22866" y="39100"/>
                    <a:pt x="25637" y="15129"/>
                    <a:pt x="27022" y="4776"/>
                  </a:cubicBezTo>
                </a:path>
              </a:pathLst>
            </a:custGeom>
            <a:solidFill>
              <a:srgbClr val="231F20">
                <a:alpha val="100000"/>
              </a:srgbClr>
            </a:solidFill>
            <a:ln w="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sp>
          <p:nvSpPr>
            <p:cNvPr id="29" name="Path29"/>
            <p:cNvSpPr/>
            <p:nvPr/>
          </p:nvSpPr>
          <p:spPr>
            <a:xfrm>
              <a:off x="5577092" y="1462496"/>
              <a:ext cx="155867" cy="291480"/>
            </a:xfrm>
            <a:custGeom>
              <a:avLst/>
              <a:gdLst/>
              <a:ahLst/>
              <a:cxnLst/>
              <a:rect l="l" t="t" r="r" b="b"/>
              <a:pathLst>
                <a:path w="155867" h="291480">
                  <a:moveTo>
                    <a:pt x="87549" y="186186"/>
                  </a:moveTo>
                  <a:lnTo>
                    <a:pt x="59726" y="186186"/>
                  </a:lnTo>
                  <a:cubicBezTo>
                    <a:pt x="58048" y="187850"/>
                    <a:pt x="58048" y="190555"/>
                    <a:pt x="59726" y="192219"/>
                  </a:cubicBezTo>
                  <a:lnTo>
                    <a:pt x="103933" y="289815"/>
                  </a:lnTo>
                  <a:cubicBezTo>
                    <a:pt x="105598" y="291479"/>
                    <a:pt x="108305" y="291479"/>
                    <a:pt x="109983" y="289815"/>
                  </a:cubicBezTo>
                  <a:lnTo>
                    <a:pt x="154203" y="192219"/>
                  </a:lnTo>
                  <a:cubicBezTo>
                    <a:pt x="155868" y="190555"/>
                    <a:pt x="155868" y="187850"/>
                    <a:pt x="154203" y="186186"/>
                  </a:cubicBezTo>
                  <a:lnTo>
                    <a:pt x="126621" y="186186"/>
                  </a:lnTo>
                  <a:cubicBezTo>
                    <a:pt x="117431" y="80511"/>
                    <a:pt x="70886" y="0"/>
                    <a:pt x="14706" y="0"/>
                  </a:cubicBezTo>
                  <a:cubicBezTo>
                    <a:pt x="11681" y="0"/>
                    <a:pt x="8694" y="280"/>
                    <a:pt x="5733" y="788"/>
                  </a:cubicBezTo>
                  <a:cubicBezTo>
                    <a:pt x="2161" y="1410"/>
                    <a:pt x="0" y="5412"/>
                    <a:pt x="2390" y="6555"/>
                  </a:cubicBezTo>
                  <a:cubicBezTo>
                    <a:pt x="46063" y="27438"/>
                    <a:pt x="79872" y="97952"/>
                    <a:pt x="87549" y="186186"/>
                  </a:cubicBezTo>
                </a:path>
              </a:pathLst>
            </a:custGeom>
            <a:solidFill>
              <a:srgbClr val="231F20">
                <a:alpha val="100000"/>
              </a:srgbClr>
            </a:solidFill>
            <a:ln w="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3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6792" y="3272985"/>
            <a:ext cx="3137278" cy="1960616"/>
          </a:xfrm>
          <a:prstGeom prst="rect">
            <a:avLst/>
          </a:prstGeom>
          <a:noFill/>
        </p:spPr>
      </p:pic>
      <p:pic>
        <p:nvPicPr>
          <p:cNvPr id="31" name="Image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1757" y="2354088"/>
            <a:ext cx="2541579" cy="1650509"/>
          </a:xfrm>
          <a:prstGeom prst="rect">
            <a:avLst/>
          </a:prstGeom>
          <a:noFill/>
        </p:spPr>
      </p:pic>
      <p:pic>
        <p:nvPicPr>
          <p:cNvPr id="32" name="Image3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91756" y="238175"/>
            <a:ext cx="3052369" cy="1871601"/>
          </a:xfrm>
          <a:prstGeom prst="rect">
            <a:avLst/>
          </a:prstGeom>
          <a:noFill/>
        </p:spPr>
      </p:pic>
      <p:sp>
        <p:nvSpPr>
          <p:cNvPr id="33" name="Text Box33"/>
          <p:cNvSpPr txBox="1"/>
          <p:nvPr/>
        </p:nvSpPr>
        <p:spPr>
          <a:xfrm>
            <a:off x="2208929" y="3727184"/>
            <a:ext cx="168880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10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34" name="Text Box34"/>
          <p:cNvSpPr txBox="1"/>
          <p:nvPr/>
        </p:nvSpPr>
        <p:spPr>
          <a:xfrm>
            <a:off x="1985613" y="4030124"/>
            <a:ext cx="227983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-452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1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Image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6792" y="2742390"/>
            <a:ext cx="3137278" cy="2491043"/>
          </a:xfrm>
          <a:prstGeom prst="rect">
            <a:avLst/>
          </a:prstGeom>
          <a:noFill/>
        </p:spPr>
      </p:pic>
      <p:grpSp>
        <p:nvGrpSpPr>
          <p:cNvPr id="36" name="Group36"/>
          <p:cNvGrpSpPr/>
          <p:nvPr/>
        </p:nvGrpSpPr>
        <p:grpSpPr>
          <a:xfrm>
            <a:off x="1979471" y="225775"/>
            <a:ext cx="2566151" cy="802146"/>
            <a:chOff x="355528" y="175185"/>
            <a:chExt cx="1991143" cy="622406"/>
          </a:xfrm>
        </p:grpSpPr>
        <p:pic>
          <p:nvPicPr>
            <p:cNvPr id="37" name="Image3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061" y="184807"/>
              <a:ext cx="1972077" cy="603257"/>
            </a:xfrm>
            <a:prstGeom prst="rect">
              <a:avLst/>
            </a:prstGeom>
            <a:noFill/>
          </p:spPr>
        </p:pic>
        <p:sp>
          <p:nvSpPr>
            <p:cNvPr id="38" name="Path38"/>
            <p:cNvSpPr/>
            <p:nvPr/>
          </p:nvSpPr>
          <p:spPr>
            <a:xfrm>
              <a:off x="355528" y="175185"/>
              <a:ext cx="1991143" cy="622406"/>
            </a:xfrm>
            <a:custGeom>
              <a:avLst/>
              <a:gdLst/>
              <a:ahLst/>
              <a:cxnLst/>
              <a:rect l="l" t="t" r="r" b="b"/>
              <a:pathLst>
                <a:path w="1991143" h="622406">
                  <a:moveTo>
                    <a:pt x="94756" y="9622"/>
                  </a:moveTo>
                  <a:cubicBezTo>
                    <a:pt x="63107" y="9939"/>
                    <a:pt x="9533" y="28257"/>
                    <a:pt x="9533" y="94883"/>
                  </a:cubicBezTo>
                  <a:lnTo>
                    <a:pt x="9533" y="527618"/>
                  </a:lnTo>
                  <a:cubicBezTo>
                    <a:pt x="9838" y="559375"/>
                    <a:pt x="28141" y="612879"/>
                    <a:pt x="94845" y="612879"/>
                  </a:cubicBezTo>
                  <a:lnTo>
                    <a:pt x="1896310" y="612879"/>
                  </a:lnTo>
                  <a:cubicBezTo>
                    <a:pt x="1928074" y="612574"/>
                    <a:pt x="1981610" y="594282"/>
                    <a:pt x="1981610" y="527618"/>
                  </a:cubicBezTo>
                  <a:lnTo>
                    <a:pt x="1981610" y="94883"/>
                  </a:lnTo>
                  <a:cubicBezTo>
                    <a:pt x="1981318" y="63126"/>
                    <a:pt x="1963002" y="9622"/>
                    <a:pt x="1896310" y="9622"/>
                  </a:cubicBezTo>
                  <a:lnTo>
                    <a:pt x="94896" y="9622"/>
                  </a:lnTo>
                  <a:lnTo>
                    <a:pt x="94756" y="9622"/>
                  </a:lnTo>
                  <a:close/>
                </a:path>
              </a:pathLst>
            </a:custGeom>
            <a:solidFill>
              <a:srgbClr val="DCDDD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39" name="Image3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15356" y="347213"/>
              <a:ext cx="271494" cy="176824"/>
            </a:xfrm>
            <a:prstGeom prst="rect">
              <a:avLst/>
            </a:prstGeom>
            <a:noFill/>
          </p:spPr>
        </p:pic>
      </p:grpSp>
      <p:sp>
        <p:nvSpPr>
          <p:cNvPr id="40" name="Text Box40"/>
          <p:cNvSpPr txBox="1"/>
          <p:nvPr/>
        </p:nvSpPr>
        <p:spPr>
          <a:xfrm>
            <a:off x="3087601" y="662008"/>
            <a:ext cx="192993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6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6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41" name="Text Box41"/>
          <p:cNvSpPr txBox="1"/>
          <p:nvPr/>
        </p:nvSpPr>
        <p:spPr>
          <a:xfrm>
            <a:off x="1985613" y="1041175"/>
            <a:ext cx="288887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28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Image4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3087" y="1861329"/>
            <a:ext cx="7300657" cy="4589176"/>
          </a:xfrm>
          <a:prstGeom prst="rect">
            <a:avLst/>
          </a:prstGeom>
          <a:noFill/>
        </p:spPr>
      </p:pic>
      <p:grpSp>
        <p:nvGrpSpPr>
          <p:cNvPr id="43" name="Group43"/>
          <p:cNvGrpSpPr/>
          <p:nvPr/>
        </p:nvGrpSpPr>
        <p:grpSpPr>
          <a:xfrm>
            <a:off x="2975877" y="3713253"/>
            <a:ext cx="4481823" cy="2364834"/>
            <a:chOff x="1128665" y="2881209"/>
            <a:chExt cx="3477563" cy="1834936"/>
          </a:xfrm>
        </p:grpSpPr>
        <p:pic>
          <p:nvPicPr>
            <p:cNvPr id="44" name="Image4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28665" y="3548499"/>
              <a:ext cx="3477563" cy="1167646"/>
            </a:xfrm>
            <a:prstGeom prst="rect">
              <a:avLst/>
            </a:prstGeom>
            <a:noFill/>
          </p:spPr>
        </p:pic>
        <p:sp>
          <p:nvSpPr>
            <p:cNvPr id="45" name="Path45"/>
            <p:cNvSpPr/>
            <p:nvPr/>
          </p:nvSpPr>
          <p:spPr>
            <a:xfrm>
              <a:off x="1475109" y="3388863"/>
              <a:ext cx="771418" cy="770960"/>
            </a:xfrm>
            <a:custGeom>
              <a:avLst/>
              <a:gdLst/>
              <a:ahLst/>
              <a:cxnLst/>
              <a:rect l="l" t="t" r="r" b="b"/>
              <a:pathLst>
                <a:path w="771418" h="770960">
                  <a:moveTo>
                    <a:pt x="385709" y="745554"/>
                  </a:moveTo>
                  <a:cubicBezTo>
                    <a:pt x="584690" y="745554"/>
                    <a:pt x="745997" y="584355"/>
                    <a:pt x="745997" y="385467"/>
                  </a:cubicBezTo>
                  <a:cubicBezTo>
                    <a:pt x="745997" y="186605"/>
                    <a:pt x="584690" y="25406"/>
                    <a:pt x="385709" y="25406"/>
                  </a:cubicBezTo>
                  <a:cubicBezTo>
                    <a:pt x="186728" y="25406"/>
                    <a:pt x="25421" y="186605"/>
                    <a:pt x="25421" y="385467"/>
                  </a:cubicBezTo>
                  <a:cubicBezTo>
                    <a:pt x="25421" y="584355"/>
                    <a:pt x="186728" y="745554"/>
                    <a:pt x="385709" y="745554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2540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sp>
          <p:nvSpPr>
            <p:cNvPr id="46" name="Path46"/>
            <p:cNvSpPr/>
            <p:nvPr/>
          </p:nvSpPr>
          <p:spPr>
            <a:xfrm>
              <a:off x="2183176" y="3660043"/>
              <a:ext cx="1791085" cy="56315"/>
            </a:xfrm>
            <a:custGeom>
              <a:avLst/>
              <a:gdLst/>
              <a:ahLst/>
              <a:cxnLst/>
              <a:rect l="l" t="t" r="r" b="b"/>
              <a:pathLst>
                <a:path w="1791085" h="56315">
                  <a:moveTo>
                    <a:pt x="25499" y="25484"/>
                  </a:moveTo>
                  <a:lnTo>
                    <a:pt x="1765586" y="30831"/>
                  </a:lnTo>
                </a:path>
              </a:pathLst>
            </a:custGeom>
            <a:solidFill>
              <a:srgbClr val="000000">
                <a:alpha val="0"/>
              </a:srgbClr>
            </a:solidFill>
            <a:ln w="2540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sp>
          <p:nvSpPr>
            <p:cNvPr id="47" name="Path47"/>
            <p:cNvSpPr/>
            <p:nvPr/>
          </p:nvSpPr>
          <p:spPr>
            <a:xfrm>
              <a:off x="2177008" y="2881209"/>
              <a:ext cx="356447" cy="841941"/>
            </a:xfrm>
            <a:custGeom>
              <a:avLst/>
              <a:gdLst/>
              <a:ahLst/>
              <a:cxnLst/>
              <a:rect l="l" t="t" r="r" b="b"/>
              <a:pathLst>
                <a:path w="356447" h="841941">
                  <a:moveTo>
                    <a:pt x="32722" y="809238"/>
                  </a:moveTo>
                  <a:lnTo>
                    <a:pt x="323726" y="32702"/>
                  </a:lnTo>
                </a:path>
              </a:pathLst>
            </a:custGeom>
            <a:solidFill>
              <a:srgbClr val="000000">
                <a:alpha val="0"/>
              </a:srgbClr>
            </a:solidFill>
            <a:ln w="2540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</p:grpSp>
      <p:pic>
        <p:nvPicPr>
          <p:cNvPr id="48" name="Image4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91757" y="238176"/>
            <a:ext cx="2541579" cy="1280341"/>
          </a:xfrm>
          <a:prstGeom prst="rect">
            <a:avLst/>
          </a:prstGeom>
          <a:noFill/>
        </p:spPr>
      </p:pic>
      <p:sp>
        <p:nvSpPr>
          <p:cNvPr id="49" name="Text Box49"/>
          <p:cNvSpPr txBox="1"/>
          <p:nvPr/>
        </p:nvSpPr>
        <p:spPr>
          <a:xfrm>
            <a:off x="2091127" y="1235073"/>
            <a:ext cx="1969876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6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x</a:t>
            </a:r>
            <a:r>
              <a:rPr lang="en-US" altLang="zh-CN" sz="1031" spc="12604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 </a:t>
            </a:r>
            <a:r>
              <a:rPr lang="en-US" altLang="zh-CN" sz="1031" spc="-2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4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50" name="Text Box50"/>
          <p:cNvSpPr txBox="1"/>
          <p:nvPr/>
        </p:nvSpPr>
        <p:spPr>
          <a:xfrm>
            <a:off x="1985611" y="1544051"/>
            <a:ext cx="286757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spc="12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3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Image5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3087" y="1861329"/>
            <a:ext cx="7300657" cy="4589176"/>
          </a:xfrm>
          <a:prstGeom prst="rect">
            <a:avLst/>
          </a:prstGeom>
          <a:noFill/>
        </p:spPr>
      </p:pic>
      <p:grpSp>
        <p:nvGrpSpPr>
          <p:cNvPr id="52" name="Group52"/>
          <p:cNvGrpSpPr/>
          <p:nvPr/>
        </p:nvGrpSpPr>
        <p:grpSpPr>
          <a:xfrm>
            <a:off x="3500076" y="2412195"/>
            <a:ext cx="219307" cy="219194"/>
            <a:chOff x="1535405" y="1871685"/>
            <a:chExt cx="170166" cy="170078"/>
          </a:xfrm>
        </p:grpSpPr>
        <p:pic>
          <p:nvPicPr>
            <p:cNvPr id="53" name="Image5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43031" y="1879307"/>
              <a:ext cx="154914" cy="154835"/>
            </a:xfrm>
            <a:prstGeom prst="rect">
              <a:avLst/>
            </a:prstGeom>
            <a:noFill/>
          </p:spPr>
        </p:pic>
        <p:sp>
          <p:nvSpPr>
            <p:cNvPr id="54" name="Path54"/>
            <p:cNvSpPr/>
            <p:nvPr/>
          </p:nvSpPr>
          <p:spPr>
            <a:xfrm>
              <a:off x="1535405" y="1871685"/>
              <a:ext cx="170166" cy="170078"/>
            </a:xfrm>
            <a:custGeom>
              <a:avLst/>
              <a:gdLst/>
              <a:ahLst/>
              <a:cxnLst/>
              <a:rect l="l" t="t" r="r" b="b"/>
              <a:pathLst>
                <a:path w="170166" h="170078">
                  <a:moveTo>
                    <a:pt x="85083" y="7622"/>
                  </a:moveTo>
                  <a:cubicBezTo>
                    <a:pt x="127866" y="7622"/>
                    <a:pt x="162540" y="42288"/>
                    <a:pt x="162540" y="85045"/>
                  </a:cubicBezTo>
                  <a:cubicBezTo>
                    <a:pt x="162540" y="127790"/>
                    <a:pt x="127866" y="162456"/>
                    <a:pt x="85083" y="162456"/>
                  </a:cubicBezTo>
                  <a:cubicBezTo>
                    <a:pt x="42300" y="162456"/>
                    <a:pt x="7626" y="127790"/>
                    <a:pt x="7626" y="85045"/>
                  </a:cubicBezTo>
                  <a:cubicBezTo>
                    <a:pt x="7626" y="42288"/>
                    <a:pt x="42300" y="7622"/>
                    <a:pt x="85083" y="7622"/>
                  </a:cubicBezTo>
                  <a:close/>
                </a:path>
              </a:pathLst>
            </a:custGeom>
            <a:solidFill>
              <a:srgbClr val="FFFFFF">
                <a:alpha val="0"/>
              </a:srgbClr>
            </a:solidFill>
            <a:ln w="762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</p:grpSp>
      <p:grpSp>
        <p:nvGrpSpPr>
          <p:cNvPr id="55" name="Group55"/>
          <p:cNvGrpSpPr/>
          <p:nvPr/>
        </p:nvGrpSpPr>
        <p:grpSpPr>
          <a:xfrm>
            <a:off x="7586257" y="4774287"/>
            <a:ext cx="219324" cy="219194"/>
            <a:chOff x="4705979" y="3704493"/>
            <a:chExt cx="170179" cy="170078"/>
          </a:xfrm>
        </p:grpSpPr>
        <p:pic>
          <p:nvPicPr>
            <p:cNvPr id="56" name="Image5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713604" y="3712115"/>
              <a:ext cx="154927" cy="154835"/>
            </a:xfrm>
            <a:prstGeom prst="rect">
              <a:avLst/>
            </a:prstGeom>
            <a:noFill/>
          </p:spPr>
        </p:pic>
        <p:sp>
          <p:nvSpPr>
            <p:cNvPr id="57" name="Path57"/>
            <p:cNvSpPr/>
            <p:nvPr/>
          </p:nvSpPr>
          <p:spPr>
            <a:xfrm>
              <a:off x="4705979" y="3704493"/>
              <a:ext cx="170179" cy="170078"/>
            </a:xfrm>
            <a:custGeom>
              <a:avLst/>
              <a:gdLst/>
              <a:ahLst/>
              <a:cxnLst/>
              <a:rect l="l" t="t" r="r" b="b"/>
              <a:pathLst>
                <a:path w="170179" h="170078">
                  <a:moveTo>
                    <a:pt x="85096" y="7622"/>
                  </a:moveTo>
                  <a:cubicBezTo>
                    <a:pt x="127879" y="7622"/>
                    <a:pt x="162553" y="42288"/>
                    <a:pt x="162553" y="85033"/>
                  </a:cubicBezTo>
                  <a:cubicBezTo>
                    <a:pt x="162553" y="127791"/>
                    <a:pt x="127879" y="162457"/>
                    <a:pt x="85096" y="162457"/>
                  </a:cubicBezTo>
                  <a:cubicBezTo>
                    <a:pt x="42313" y="162457"/>
                    <a:pt x="7626" y="127791"/>
                    <a:pt x="7626" y="85033"/>
                  </a:cubicBezTo>
                  <a:cubicBezTo>
                    <a:pt x="7626" y="42288"/>
                    <a:pt x="42313" y="7622"/>
                    <a:pt x="85096" y="7622"/>
                  </a:cubicBezTo>
                  <a:close/>
                </a:path>
              </a:pathLst>
            </a:custGeom>
            <a:solidFill>
              <a:srgbClr val="FFFFFF">
                <a:alpha val="0"/>
              </a:srgbClr>
            </a:solidFill>
            <a:ln w="762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</p:grpSp>
      <p:grpSp>
        <p:nvGrpSpPr>
          <p:cNvPr id="58" name="Group58"/>
          <p:cNvGrpSpPr/>
          <p:nvPr/>
        </p:nvGrpSpPr>
        <p:grpSpPr>
          <a:xfrm>
            <a:off x="1979471" y="225775"/>
            <a:ext cx="2566151" cy="802146"/>
            <a:chOff x="355528" y="175185"/>
            <a:chExt cx="1991143" cy="622406"/>
          </a:xfrm>
        </p:grpSpPr>
        <p:pic>
          <p:nvPicPr>
            <p:cNvPr id="59" name="Image5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65061" y="184807"/>
              <a:ext cx="1972077" cy="603257"/>
            </a:xfrm>
            <a:prstGeom prst="rect">
              <a:avLst/>
            </a:prstGeom>
            <a:noFill/>
          </p:spPr>
        </p:pic>
        <p:sp>
          <p:nvSpPr>
            <p:cNvPr id="60" name="Path60"/>
            <p:cNvSpPr/>
            <p:nvPr/>
          </p:nvSpPr>
          <p:spPr>
            <a:xfrm>
              <a:off x="355528" y="175185"/>
              <a:ext cx="1991143" cy="622406"/>
            </a:xfrm>
            <a:custGeom>
              <a:avLst/>
              <a:gdLst/>
              <a:ahLst/>
              <a:cxnLst/>
              <a:rect l="l" t="t" r="r" b="b"/>
              <a:pathLst>
                <a:path w="1991143" h="622406">
                  <a:moveTo>
                    <a:pt x="94756" y="9622"/>
                  </a:moveTo>
                  <a:cubicBezTo>
                    <a:pt x="63107" y="9939"/>
                    <a:pt x="9533" y="28257"/>
                    <a:pt x="9533" y="94883"/>
                  </a:cubicBezTo>
                  <a:lnTo>
                    <a:pt x="9533" y="527618"/>
                  </a:lnTo>
                  <a:cubicBezTo>
                    <a:pt x="9838" y="559375"/>
                    <a:pt x="28141" y="612879"/>
                    <a:pt x="94845" y="612879"/>
                  </a:cubicBezTo>
                  <a:lnTo>
                    <a:pt x="1896310" y="612879"/>
                  </a:lnTo>
                  <a:cubicBezTo>
                    <a:pt x="1928074" y="612574"/>
                    <a:pt x="1981610" y="594282"/>
                    <a:pt x="1981610" y="527618"/>
                  </a:cubicBezTo>
                  <a:lnTo>
                    <a:pt x="1981610" y="94883"/>
                  </a:lnTo>
                  <a:cubicBezTo>
                    <a:pt x="1981318" y="63126"/>
                    <a:pt x="1963002" y="9622"/>
                    <a:pt x="1896310" y="9622"/>
                  </a:cubicBezTo>
                  <a:lnTo>
                    <a:pt x="94896" y="9622"/>
                  </a:lnTo>
                  <a:lnTo>
                    <a:pt x="94756" y="9622"/>
                  </a:lnTo>
                  <a:close/>
                </a:path>
              </a:pathLst>
            </a:custGeom>
            <a:solidFill>
              <a:srgbClr val="DCDDDF">
                <a:alpha val="0"/>
              </a:srgbClr>
            </a:solidFill>
            <a:ln w="9525" cap="sq">
              <a:solidFill>
                <a:srgbClr val="929596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  <p:pic>
          <p:nvPicPr>
            <p:cNvPr id="61" name="Image6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121271" y="370574"/>
              <a:ext cx="372160" cy="216456"/>
            </a:xfrm>
            <a:prstGeom prst="rect">
              <a:avLst/>
            </a:prstGeom>
            <a:noFill/>
          </p:spPr>
        </p:pic>
        <p:pic>
          <p:nvPicPr>
            <p:cNvPr id="62" name="Image6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511451" y="298558"/>
              <a:ext cx="154914" cy="154834"/>
            </a:xfrm>
            <a:prstGeom prst="rect">
              <a:avLst/>
            </a:prstGeom>
            <a:noFill/>
          </p:spPr>
        </p:pic>
        <p:sp>
          <p:nvSpPr>
            <p:cNvPr id="63" name="Path63"/>
            <p:cNvSpPr/>
            <p:nvPr/>
          </p:nvSpPr>
          <p:spPr>
            <a:xfrm>
              <a:off x="1503825" y="290935"/>
              <a:ext cx="170166" cy="170078"/>
            </a:xfrm>
            <a:custGeom>
              <a:avLst/>
              <a:gdLst/>
              <a:ahLst/>
              <a:cxnLst/>
              <a:rect l="l" t="t" r="r" b="b"/>
              <a:pathLst>
                <a:path w="170166" h="170078">
                  <a:moveTo>
                    <a:pt x="85083" y="7622"/>
                  </a:moveTo>
                  <a:cubicBezTo>
                    <a:pt x="127866" y="7622"/>
                    <a:pt x="162540" y="42288"/>
                    <a:pt x="162540" y="85046"/>
                  </a:cubicBezTo>
                  <a:cubicBezTo>
                    <a:pt x="162540" y="127791"/>
                    <a:pt x="127866" y="162457"/>
                    <a:pt x="85083" y="162457"/>
                  </a:cubicBezTo>
                  <a:cubicBezTo>
                    <a:pt x="42300" y="162457"/>
                    <a:pt x="7626" y="127791"/>
                    <a:pt x="7626" y="85046"/>
                  </a:cubicBezTo>
                  <a:cubicBezTo>
                    <a:pt x="7626" y="42288"/>
                    <a:pt x="42300" y="7622"/>
                    <a:pt x="85083" y="7622"/>
                  </a:cubicBezTo>
                  <a:close/>
                </a:path>
              </a:pathLst>
            </a:custGeom>
            <a:solidFill>
              <a:srgbClr val="FFFFFF">
                <a:alpha val="0"/>
              </a:srgbClr>
            </a:solidFill>
            <a:ln w="7620" cap="sq">
              <a:solidFill>
                <a:srgbClr val="231F20"/>
              </a:solidFill>
              <a:prstDash val="solid"/>
            </a:ln>
          </p:spPr>
          <p:txBody>
            <a:bodyPr rtlCol="0" anchor="ctr"/>
            <a:lstStyle/>
            <a:p>
              <a:pPr algn="ctr"/>
              <a:endParaRPr lang="en-US" altLang="zh-CN" sz="2320"/>
            </a:p>
          </p:txBody>
        </p:sp>
      </p:grpSp>
      <p:sp>
        <p:nvSpPr>
          <p:cNvPr id="64" name="Text Box64"/>
          <p:cNvSpPr txBox="1"/>
          <p:nvPr/>
        </p:nvSpPr>
        <p:spPr>
          <a:xfrm>
            <a:off x="3531682" y="408062"/>
            <a:ext cx="123800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50"/>
              </a:lnSpc>
            </a:pPr>
            <a:r>
              <a:rPr lang="en-US" altLang="zh-CN" sz="1031" spc="15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3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65" name="Text Box65"/>
          <p:cNvSpPr txBox="1"/>
          <p:nvPr/>
        </p:nvSpPr>
        <p:spPr>
          <a:xfrm>
            <a:off x="2966347" y="743193"/>
            <a:ext cx="192993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67"/>
              </a:lnSpc>
            </a:pPr>
            <a:r>
              <a:rPr lang="en-US" altLang="zh-CN" sz="1031" spc="-6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2x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66" name="Text Box66"/>
          <p:cNvSpPr txBox="1"/>
          <p:nvPr/>
        </p:nvSpPr>
        <p:spPr>
          <a:xfrm>
            <a:off x="1985614" y="1041175"/>
            <a:ext cx="285054" cy="527388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4119"/>
              </a:lnSpc>
            </a:pPr>
            <a:r>
              <a:rPr lang="en-US" altLang="zh-CN" sz="3351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4</a:t>
            </a:r>
            <a:endParaRPr lang="en-US" altLang="zh-CN" sz="335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67" name="Text Box67"/>
          <p:cNvSpPr txBox="1"/>
          <p:nvPr/>
        </p:nvSpPr>
        <p:spPr>
          <a:xfrm>
            <a:off x="3572380" y="2445307"/>
            <a:ext cx="123800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50"/>
              </a:lnSpc>
            </a:pPr>
            <a:r>
              <a:rPr lang="en-US" altLang="zh-CN" sz="1031" spc="15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3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  <p:sp>
        <p:nvSpPr>
          <p:cNvPr id="68" name="Text Box68"/>
          <p:cNvSpPr txBox="1"/>
          <p:nvPr/>
        </p:nvSpPr>
        <p:spPr>
          <a:xfrm>
            <a:off x="7658579" y="4807397"/>
            <a:ext cx="123799" cy="197939"/>
          </a:xfrm>
          <a:prstGeom prst="rect">
            <a:avLst/>
          </a:prstGeom>
        </p:spPr>
        <p:txBody>
          <a:bodyPr wrap="square" lIns="0" tIns="0" rIns="0" rtlCol="0">
            <a:spAutoFit/>
          </a:bodyPr>
          <a:lstStyle/>
          <a:p>
            <a:pPr>
              <a:lnSpc>
                <a:spcPts val="1250"/>
              </a:lnSpc>
            </a:pPr>
            <a:r>
              <a:rPr lang="en-US" altLang="zh-CN" sz="1031" spc="15" dirty="0">
                <a:solidFill>
                  <a:srgbClr val="231F20"/>
                </a:solidFill>
                <a:latin typeface="Ubuntu" panose="020B0504030602030204" pitchFamily="34" charset="0"/>
                <a:ea typeface="Helvetica"/>
                <a:cs typeface="Helvetica"/>
              </a:rPr>
              <a:t>3</a:t>
            </a:r>
            <a:endParaRPr lang="en-US" altLang="zh-CN" sz="1031" dirty="0">
              <a:latin typeface="Ubuntu" panose="020B0504030602030204" pitchFamily="34" charset="0"/>
              <a:ea typeface="Helvetica"/>
              <a:cs typeface="Helvetica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 2021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5" id="{2F062029-DD84-9443-B4E7-36A2C3F308DA}" vid="{5FA4A6EA-55AB-5044-81C5-D07D5F4CF769}"/>
    </a:ext>
  </a:extLst>
</a:theme>
</file>

<file path=ppt/theme/theme2.xml><?xml version="1.0" encoding="utf-8"?>
<a:theme xmlns:a="http://schemas.openxmlformats.org/drawingml/2006/main" name="Tema do Offic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814CDAAD90234187EEB5FD96866A98" ma:contentTypeVersion="11" ma:contentTypeDescription="Create a new document." ma:contentTypeScope="" ma:versionID="18d445103aa4de643de23123b84afcf0">
  <xsd:schema xmlns:xsd="http://www.w3.org/2001/XMLSchema" xmlns:xs="http://www.w3.org/2001/XMLSchema" xmlns:p="http://schemas.microsoft.com/office/2006/metadata/properties" xmlns:ns2="a7f7407c-4959-4d52-84b1-d84794f8435e" targetNamespace="http://schemas.microsoft.com/office/2006/metadata/properties" ma:root="true" ma:fieldsID="d80bf7ecde74d672140e55c663b91144" ns2:_="">
    <xsd:import namespace="a7f7407c-4959-4d52-84b1-d84794f8435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f7407c-4959-4d52-84b1-d84794f843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3B09ECE-D1C0-42A5-B69E-8C88764DB9F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003C4EB-CE59-4BFF-960C-013DEAAF751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f7407c-4959-4d52-84b1-d84794f8435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765F6DA-EDFD-4C3F-B2EB-EDE359E124E2}">
  <ds:schemaRefs>
    <ds:schemaRef ds:uri="bd661d4c-a817-4f27-b896-8d7a0239d9a2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e365201-3e16-4171-91fb-c71d19607f70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0</TotalTime>
  <Words>313</Words>
  <Application>Microsoft Macintosh PowerPoint</Application>
  <PresentationFormat>Widescreen</PresentationFormat>
  <Paragraphs>87</Paragraphs>
  <Slides>4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7" baseType="lpstr">
      <vt:lpstr>Calibri</vt:lpstr>
      <vt:lpstr>Arial</vt:lpstr>
      <vt:lpstr>Wingdings</vt:lpstr>
      <vt:lpstr>Ubuntu</vt:lpstr>
      <vt:lpstr>Capgemini Master 2021</vt:lpstr>
      <vt:lpstr>think-cell Slide</vt:lpstr>
      <vt:lpstr>First LEGO League</vt:lpstr>
      <vt:lpstr>First LEGO League</vt:lpstr>
      <vt:lpstr>Robot Game Over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Capgemini template</dc:subject>
  <dc:creator>Singh, Ramandeep</dc:creator>
  <cp:lastModifiedBy>Singh, Ramandeep</cp:lastModifiedBy>
  <cp:revision>23</cp:revision>
  <dcterms:created xsi:type="dcterms:W3CDTF">2021-09-21T20:05:27Z</dcterms:created>
  <dcterms:modified xsi:type="dcterms:W3CDTF">2021-10-16T16:04:14Z</dcterms:modified>
  <cp:category>Company Confidentia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814CDAAD90234187EEB5FD96866A98</vt:lpwstr>
  </property>
</Properties>
</file>